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notesSlides/notesSlide1.xml" ContentType="application/vnd.openxmlformats-officedocument.presentationml.notesSlide+xml"/>
  <Override PartName="/ppt/tags/tag47.xml" ContentType="application/vnd.openxmlformats-officedocument.presentationml.tags+xml"/>
  <Override PartName="/ppt/notesSlides/notesSlide2.xml" ContentType="application/vnd.openxmlformats-officedocument.presentationml.notesSlide+xml"/>
  <Override PartName="/ppt/tags/tag48.xml" ContentType="application/vnd.openxmlformats-officedocument.presentationml.tags+xml"/>
  <Override PartName="/ppt/notesSlides/notesSlide3.xml" ContentType="application/vnd.openxmlformats-officedocument.presentationml.notesSlide+xml"/>
  <Override PartName="/ppt/tags/tag49.xml" ContentType="application/vnd.openxmlformats-officedocument.presentationml.tags+xml"/>
  <Override PartName="/ppt/notesSlides/notesSlide4.xml" ContentType="application/vnd.openxmlformats-officedocument.presentationml.notesSlide+xml"/>
  <Override PartName="/ppt/tags/tag50.xml" ContentType="application/vnd.openxmlformats-officedocument.presentationml.tags+xml"/>
  <Override PartName="/ppt/notesSlides/notesSlide5.xml" ContentType="application/vnd.openxmlformats-officedocument.presentationml.notesSlide+xml"/>
  <Override PartName="/ppt/tags/tag51.xml" ContentType="application/vnd.openxmlformats-officedocument.presentationml.tags+xml"/>
  <Override PartName="/ppt/notesSlides/notesSlide6.xml" ContentType="application/vnd.openxmlformats-officedocument.presentationml.notesSlide+xml"/>
  <Override PartName="/ppt/tags/tag52.xml" ContentType="application/vnd.openxmlformats-officedocument.presentationml.tags+xml"/>
  <Override PartName="/ppt/charts/chart19.xml" ContentType="application/vnd.openxmlformats-officedocument.drawingml.chart+xml"/>
  <Override PartName="/ppt/tags/tag53.xml" ContentType="application/vnd.openxmlformats-officedocument.presentationml.tags+xml"/>
  <Override PartName="/ppt/charts/chart20.xml" ContentType="application/vnd.openxmlformats-officedocument.drawingml.chart+xml"/>
  <Override PartName="/ppt/tags/tag54.xml" ContentType="application/vnd.openxmlformats-officedocument.presentationml.tags+xml"/>
  <Override PartName="/ppt/charts/chart21.xml" ContentType="application/vnd.openxmlformats-officedocument.drawingml.chart+xml"/>
  <Override PartName="/ppt/tags/tag55.xml" ContentType="application/vnd.openxmlformats-officedocument.presentationml.tags+xml"/>
  <Override PartName="/ppt/charts/chart22.xml" ContentType="application/vnd.openxmlformats-officedocument.drawingml.chart+xml"/>
  <Override PartName="/ppt/tags/tag56.xml" ContentType="application/vnd.openxmlformats-officedocument.presentationml.tags+xml"/>
  <Override PartName="/ppt/charts/chart23.xml" ContentType="application/vnd.openxmlformats-officedocument.drawingml.chart+xml"/>
  <Override PartName="/ppt/tags/tag57.xml" ContentType="application/vnd.openxmlformats-officedocument.presentationml.tags+xml"/>
  <Override PartName="/ppt/charts/chart24.xml" ContentType="application/vnd.openxmlformats-officedocument.drawingml.chart+xml"/>
  <Override PartName="/ppt/tags/tag58.xml" ContentType="application/vnd.openxmlformats-officedocument.presentationml.tags+xml"/>
  <Override PartName="/ppt/charts/chart25.xml" ContentType="application/vnd.openxmlformats-officedocument.drawingml.chart+xml"/>
  <Override PartName="/ppt/tags/tag59.xml" ContentType="application/vnd.openxmlformats-officedocument.presentationml.tags+xml"/>
  <Override PartName="/ppt/charts/chart26.xml" ContentType="application/vnd.openxmlformats-officedocument.drawingml.chart+xml"/>
  <Override PartName="/ppt/tags/tag60.xml" ContentType="application/vnd.openxmlformats-officedocument.presentationml.tags+xml"/>
  <Override PartName="/ppt/charts/chart27.xml" ContentType="application/vnd.openxmlformats-officedocument.drawingml.chart+xml"/>
  <Override PartName="/ppt/tags/tag61.xml" ContentType="application/vnd.openxmlformats-officedocument.presentationml.tags+xml"/>
  <Override PartName="/ppt/charts/chart28.xml" ContentType="application/vnd.openxmlformats-officedocument.drawingml.chart+xml"/>
  <Override PartName="/ppt/tags/tag62.xml" ContentType="application/vnd.openxmlformats-officedocument.presentationml.tags+xml"/>
  <Override PartName="/ppt/charts/chart29.xml" ContentType="application/vnd.openxmlformats-officedocument.drawingml.chart+xml"/>
  <Override PartName="/ppt/tags/tag63.xml" ContentType="application/vnd.openxmlformats-officedocument.presentationml.tags+xml"/>
  <Override PartName="/ppt/charts/chart30.xml" ContentType="application/vnd.openxmlformats-officedocument.drawingml.chart+xml"/>
  <Override PartName="/ppt/tags/tag64.xml" ContentType="application/vnd.openxmlformats-officedocument.presentationml.tags+xml"/>
  <Override PartName="/ppt/charts/chart31.xml" ContentType="application/vnd.openxmlformats-officedocument.drawingml.chart+xml"/>
  <Override PartName="/ppt/tags/tag65.xml" ContentType="application/vnd.openxmlformats-officedocument.presentationml.tags+xml"/>
  <Override PartName="/ppt/charts/chart32.xml" ContentType="application/vnd.openxmlformats-officedocument.drawingml.chart+xml"/>
  <Override PartName="/ppt/tags/tag66.xml" ContentType="application/vnd.openxmlformats-officedocument.presentationml.tags+xml"/>
  <Override PartName="/ppt/charts/chart33.xml" ContentType="application/vnd.openxmlformats-officedocument.drawingml.chart+xml"/>
  <Override PartName="/ppt/tags/tag67.xml" ContentType="application/vnd.openxmlformats-officedocument.presentationml.tags+xml"/>
  <Override PartName="/ppt/charts/chart34.xml" ContentType="application/vnd.openxmlformats-officedocument.drawingml.chart+xml"/>
  <Override PartName="/ppt/tags/tag68.xml" ContentType="application/vnd.openxmlformats-officedocument.presentationml.tags+xml"/>
  <Override PartName="/ppt/charts/chart35.xml" ContentType="application/vnd.openxmlformats-officedocument.drawingml.chart+xml"/>
  <Override PartName="/ppt/tags/tag69.xml" ContentType="application/vnd.openxmlformats-officedocument.presentationml.tags+xml"/>
  <Override PartName="/ppt/charts/chart36.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26311A5B-0DCA-4C4C-A18A-11E0949D6EAE}">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Lst>
        </p14:section>
        <p14:section name="Sectors Share and Growth By Brands" id="{400E5546-20C6-45A7-98A1-5FDDF1EF4309}">
          <p14:sldIdLst>
            <p14:sldId id="2147477383"/>
            <p14:sldId id="2147477384"/>
            <p14:sldId id="2147477385"/>
          </p14:sldIdLst>
        </p14:section>
        <p14:section name="Segments Share and Growth By Brands" id="{7ACB1EFE-ACCF-4140-9B22-F151762ED738}">
          <p14:sldIdLst>
            <p14:sldId id="2147477386"/>
            <p14:sldId id="2147477387"/>
            <p14:sldId id="2147477388"/>
          </p14:sldIdLst>
        </p14:section>
        <p14:section name="Price Point Distribution Analysis By Brand" id="{229F8D46-F7ED-4ADF-B17D-54EC5D6C3899}">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09D200-DFA5-4E66-95EE-1C505399B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0C3900-B7D9-4A03-90B6-B4ED33A0D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71AA8ED-21CA-4EE0-89B0-39DC4683A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A4B472-FECD-46B6-9A27-CBCBB2B16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CE6853-8CE2-4D4D-8820-1ADA6980F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484782E-3077-4A12-BAE1-821B35AAB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C5185F-385D-4D57-BA05-A1F30F4BB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F95ACB5-C186-4A4D-A88D-6B716AF2D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432000000000001</c:v>
                </c:pt>
                <c:pt idx="1">
                  <c:v>2.2827999999999999</c:v>
                </c:pt>
                <c:pt idx="2">
                  <c:v>2.7054</c:v>
                </c:pt>
                <c:pt idx="3">
                  <c:v>2.8982999999999999</c:v>
                </c:pt>
                <c:pt idx="4">
                  <c:v>3.2122000000000002</c:v>
                </c:pt>
                <c:pt idx="5">
                  <c:v>2.4706999999999999</c:v>
                </c:pt>
                <c:pt idx="6">
                  <c:v>3.2845</c:v>
                </c:pt>
                <c:pt idx="7">
                  <c:v>3.4908000000000001</c:v>
                </c:pt>
                <c:pt idx="8">
                  <c:v>2.2103999999999999</c:v>
                </c:pt>
              </c:numCache>
            </c:numRef>
          </c:xVal>
          <c:yVal>
            <c:numRef>
              <c:f>Sheet1!$B$2:$B$10</c:f>
              <c:numCache>
                <c:formatCode>General</c:formatCode>
                <c:ptCount val="9"/>
                <c:pt idx="0">
                  <c:v>0.84199999999999997</c:v>
                </c:pt>
                <c:pt idx="1">
                  <c:v>0.80500000000000005</c:v>
                </c:pt>
                <c:pt idx="2">
                  <c:v>1.0609999999999999</c:v>
                </c:pt>
                <c:pt idx="3">
                  <c:v>1.147</c:v>
                </c:pt>
                <c:pt idx="4">
                  <c:v>1.1639999999999999</c:v>
                </c:pt>
                <c:pt idx="5">
                  <c:v>0.71699999999999997</c:v>
                </c:pt>
                <c:pt idx="6">
                  <c:v>0.90600000000000003</c:v>
                </c:pt>
                <c:pt idx="7">
                  <c:v>1.458</c:v>
                </c:pt>
                <c:pt idx="8">
                  <c:v>1.1000000000000001</c:v>
                </c:pt>
              </c:numCache>
            </c:numRef>
          </c:yVal>
          <c:bubbleSize>
            <c:numRef>
              <c:f>Sheet1!$C$2:$C$10</c:f>
              <c:numCache>
                <c:formatCode>General</c:formatCode>
                <c:ptCount val="9"/>
                <c:pt idx="0">
                  <c:v>1775606216</c:v>
                </c:pt>
                <c:pt idx="1">
                  <c:v>230947562</c:v>
                </c:pt>
                <c:pt idx="2">
                  <c:v>201056085</c:v>
                </c:pt>
                <c:pt idx="3">
                  <c:v>198815524</c:v>
                </c:pt>
                <c:pt idx="4">
                  <c:v>187705593</c:v>
                </c:pt>
                <c:pt idx="5">
                  <c:v>146085508</c:v>
                </c:pt>
                <c:pt idx="6">
                  <c:v>143118988</c:v>
                </c:pt>
                <c:pt idx="7">
                  <c:v>133719924</c:v>
                </c:pt>
                <c:pt idx="8">
                  <c:v>128025208</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Coeur De Lion</c:v>
                  </c:pt>
                  <c:pt idx="6">
                    <c:v>La Vache Qui Rit</c:v>
                  </c:pt>
                  <c:pt idx="7">
                    <c:v>Mini Babybel</c:v>
                  </c:pt>
                  <c:pt idx="8">
                    <c:v>Galba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5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C3D1D5-95B8-4350-A35C-B87BBE2DA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FAC1AF-E645-466D-88C9-AC8152AFEC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F93CC5-393D-45FB-998D-A9A626184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EA25C3-6BD0-492B-B1E7-A27240FD4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69B96F-E252-4E0D-8935-EA0AAFB55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34EDD5-B469-4509-BAA8-5BF11DB85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436B03F-FD57-4DE8-B710-E222D463D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F863851-706F-4976-8984-D0183472A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845</c:v>
                </c:pt>
                <c:pt idx="1">
                  <c:v>3.4908000000000001</c:v>
                </c:pt>
                <c:pt idx="2">
                  <c:v>3.0055999999999998</c:v>
                </c:pt>
                <c:pt idx="3">
                  <c:v>2.2181000000000002</c:v>
                </c:pt>
                <c:pt idx="4">
                  <c:v>2.7117</c:v>
                </c:pt>
                <c:pt idx="5">
                  <c:v>3.2094999999999998</c:v>
                </c:pt>
              </c:numCache>
            </c:numRef>
          </c:xVal>
          <c:yVal>
            <c:numRef>
              <c:f>Sheet1!$B$2:$B$7</c:f>
              <c:numCache>
                <c:formatCode>General</c:formatCode>
                <c:ptCount val="6"/>
                <c:pt idx="0">
                  <c:v>0.88900000000000001</c:v>
                </c:pt>
                <c:pt idx="1">
                  <c:v>1.431</c:v>
                </c:pt>
                <c:pt idx="2">
                  <c:v>1.1040000000000001</c:v>
                </c:pt>
                <c:pt idx="3">
                  <c:v>0.64400000000000002</c:v>
                </c:pt>
                <c:pt idx="4">
                  <c:v>1.952</c:v>
                </c:pt>
                <c:pt idx="5">
                  <c:v>1.4830000000000001</c:v>
                </c:pt>
              </c:numCache>
            </c:numRef>
          </c:yVal>
          <c:bubbleSize>
            <c:numRef>
              <c:f>Sheet1!$C$2:$C$7</c:f>
              <c:numCache>
                <c:formatCode>General</c:formatCode>
                <c:ptCount val="6"/>
                <c:pt idx="0">
                  <c:v>143118908</c:v>
                </c:pt>
                <c:pt idx="1">
                  <c:v>133719924</c:v>
                </c:pt>
                <c:pt idx="2">
                  <c:v>109186832</c:v>
                </c:pt>
                <c:pt idx="3">
                  <c:v>100313963</c:v>
                </c:pt>
                <c:pt idx="4">
                  <c:v>40963436</c:v>
                </c:pt>
                <c:pt idx="5">
                  <c:v>11176159</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2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5B4D6E-5047-4805-9D6C-7430E99D0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094F0F-C0F7-4542-8E66-8F23B7FA1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27C409-37C6-4EEC-9300-576F39B32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3A6F7F7-EA88-4D67-9DBE-3273D219D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BB39DF-FC39-4E8F-B154-CFCEC2D73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16B38C-C2C2-4EAC-89F2-A5D809965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7570549-E60C-4D9A-9210-AFB6D6DF3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0BDE3DE-544A-4217-AB7A-77E6A793C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692000000000001</c:v>
                </c:pt>
                <c:pt idx="1">
                  <c:v>3.4565000000000001</c:v>
                </c:pt>
                <c:pt idx="2">
                  <c:v>2.9908000000000001</c:v>
                </c:pt>
                <c:pt idx="3">
                  <c:v>2.3189000000000002</c:v>
                </c:pt>
                <c:pt idx="4">
                  <c:v>2.8247</c:v>
                </c:pt>
                <c:pt idx="5">
                  <c:v>3.0139</c:v>
                </c:pt>
              </c:numCache>
            </c:numRef>
          </c:xVal>
          <c:yVal>
            <c:numRef>
              <c:f>Sheet1!$B$2:$B$7</c:f>
              <c:numCache>
                <c:formatCode>General</c:formatCode>
                <c:ptCount val="6"/>
                <c:pt idx="0">
                  <c:v>0.81499999999999995</c:v>
                </c:pt>
                <c:pt idx="1">
                  <c:v>1.363</c:v>
                </c:pt>
                <c:pt idx="2">
                  <c:v>1.036</c:v>
                </c:pt>
                <c:pt idx="3">
                  <c:v>0.69099999999999995</c:v>
                </c:pt>
                <c:pt idx="4">
                  <c:v>2.008</c:v>
                </c:pt>
                <c:pt idx="5">
                  <c:v>1.6180000000000001</c:v>
                </c:pt>
              </c:numCache>
            </c:numRef>
          </c:yVal>
          <c:bubbleSize>
            <c:numRef>
              <c:f>Sheet1!$C$2:$C$7</c:f>
              <c:numCache>
                <c:formatCode>General</c:formatCode>
                <c:ptCount val="6"/>
                <c:pt idx="0">
                  <c:v>30468308</c:v>
                </c:pt>
                <c:pt idx="1">
                  <c:v>22613796</c:v>
                </c:pt>
                <c:pt idx="2">
                  <c:v>21233281</c:v>
                </c:pt>
                <c:pt idx="3">
                  <c:v>10731593</c:v>
                </c:pt>
                <c:pt idx="4">
                  <c:v>8292955</c:v>
                </c:pt>
                <c:pt idx="5">
                  <c:v>2020643</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08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B1508A-BC83-4716-AC17-CF2B837175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5DDE5B-CB27-4355-BC1E-AC5A03D4C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A144B3-28DA-48A6-9C1B-EEF07E6AE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436D59-8DE7-4848-B52A-C957CD1BAC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ADBD76B-F8F3-478B-A31B-486A4FAA2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243F27-4696-43DD-87BD-EA18A029A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FCF8413-21F3-425C-AAAB-CA3AE8717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03235DE-837B-4549-AB31-D39E669B2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3645999999999998</c:v>
                </c:pt>
                <c:pt idx="1">
                  <c:v>3.5409000000000002</c:v>
                </c:pt>
                <c:pt idx="2">
                  <c:v>3.1012</c:v>
                </c:pt>
                <c:pt idx="3">
                  <c:v>2.0585</c:v>
                </c:pt>
                <c:pt idx="4">
                  <c:v>2.7042000000000002</c:v>
                </c:pt>
                <c:pt idx="5">
                  <c:v>3.6595</c:v>
                </c:pt>
              </c:numCache>
            </c:numRef>
          </c:xVal>
          <c:yVal>
            <c:numRef>
              <c:f>Sheet1!$B$2:$B$7</c:f>
              <c:numCache>
                <c:formatCode>General</c:formatCode>
                <c:ptCount val="6"/>
                <c:pt idx="0">
                  <c:v>0.86699999999999999</c:v>
                </c:pt>
                <c:pt idx="1">
                  <c:v>1.371</c:v>
                </c:pt>
                <c:pt idx="2">
                  <c:v>1.073</c:v>
                </c:pt>
                <c:pt idx="3">
                  <c:v>0.64100000000000001</c:v>
                </c:pt>
                <c:pt idx="4">
                  <c:v>1.871</c:v>
                </c:pt>
                <c:pt idx="5">
                  <c:v>1.278</c:v>
                </c:pt>
              </c:numCache>
            </c:numRef>
          </c:yVal>
          <c:bubbleSize>
            <c:numRef>
              <c:f>Sheet1!$C$2:$C$7</c:f>
              <c:numCache>
                <c:formatCode>General</c:formatCode>
                <c:ptCount val="6"/>
                <c:pt idx="0">
                  <c:v>22557022</c:v>
                </c:pt>
                <c:pt idx="1">
                  <c:v>19313906</c:v>
                </c:pt>
                <c:pt idx="2">
                  <c:v>16396938</c:v>
                </c:pt>
                <c:pt idx="3">
                  <c:v>10594194</c:v>
                </c:pt>
                <c:pt idx="4">
                  <c:v>5799659</c:v>
                </c:pt>
                <c:pt idx="5">
                  <c:v>1522946</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0BD22E-7166-47A4-8449-1A1028BA1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3613DA-555D-47B1-A634-F4F3E932F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2960D2-21E3-4393-A61A-D20FC3847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3E1BBF-DBE5-45CE-B0D9-49B95B0D8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15073B-143A-4780-84BD-C3EF5B6DC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5823E0-18E1-49AF-B317-19DFE7DA9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E13FB99-FDBB-4C4C-AD17-8514A6845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E59C89-8713-4568-BDDD-BA0AA2397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56</c:v>
                </c:pt>
                <c:pt idx="1">
                  <c:v>1.5004999999999999</c:v>
                </c:pt>
                <c:pt idx="2">
                  <c:v>2.4567999999999999</c:v>
                </c:pt>
                <c:pt idx="3">
                  <c:v>2.2768000000000002</c:v>
                </c:pt>
                <c:pt idx="4">
                  <c:v>2.3458000000000001</c:v>
                </c:pt>
                <c:pt idx="5">
                  <c:v>2.4558</c:v>
                </c:pt>
                <c:pt idx="6">
                  <c:v>2.6151</c:v>
                </c:pt>
                <c:pt idx="7">
                  <c:v>1.7732000000000001</c:v>
                </c:pt>
              </c:numCache>
            </c:numRef>
          </c:xVal>
          <c:yVal>
            <c:numRef>
              <c:f>Sheet1!$B$2:$B$9</c:f>
              <c:numCache>
                <c:formatCode>General</c:formatCode>
                <c:ptCount val="8"/>
                <c:pt idx="0">
                  <c:v>1.1499999999999999</c:v>
                </c:pt>
                <c:pt idx="1">
                  <c:v>0.68899999999999995</c:v>
                </c:pt>
                <c:pt idx="2">
                  <c:v>1.0349999999999999</c:v>
                </c:pt>
                <c:pt idx="3">
                  <c:v>1.1140000000000001</c:v>
                </c:pt>
                <c:pt idx="4">
                  <c:v>1.3320000000000001</c:v>
                </c:pt>
                <c:pt idx="5">
                  <c:v>1.099</c:v>
                </c:pt>
                <c:pt idx="6">
                  <c:v>1.0780000000000001</c:v>
                </c:pt>
                <c:pt idx="7">
                  <c:v>1.222</c:v>
                </c:pt>
              </c:numCache>
            </c:numRef>
          </c:yVal>
          <c:bubbleSize>
            <c:numRef>
              <c:f>Sheet1!$C$2:$C$9</c:f>
              <c:numCache>
                <c:formatCode>General</c:formatCode>
                <c:ptCount val="8"/>
                <c:pt idx="0">
                  <c:v>188621011</c:v>
                </c:pt>
                <c:pt idx="1">
                  <c:v>139659774</c:v>
                </c:pt>
                <c:pt idx="2">
                  <c:v>89110867</c:v>
                </c:pt>
                <c:pt idx="3">
                  <c:v>74612015</c:v>
                </c:pt>
                <c:pt idx="4">
                  <c:v>69893459</c:v>
                </c:pt>
                <c:pt idx="5">
                  <c:v>40894571</c:v>
                </c:pt>
                <c:pt idx="6">
                  <c:v>30462743</c:v>
                </c:pt>
                <c:pt idx="7">
                  <c:v>10202099</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Philadelphia</c:v>
                  </c:pt>
                  <c:pt idx="7">
                    <c:v>Ronde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FC3840-7BE7-40AA-A5A0-88585C6F9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81C457C-60C6-4216-925C-254960F5E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4CE1D7-6402-47EF-8F48-4D474008C8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384BB9-D215-454F-BABD-ED8161425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97DCC1D-8AE1-4ED6-A1EF-BDC6DE6F0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898F9E-BFA6-4DF3-BEC8-CF595AF08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CE083DC-4DB4-49A0-ABB0-8D998D8FE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B9636F-B11D-46C7-B1A9-240375658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3.0144000000000002</c:v>
                </c:pt>
                <c:pt idx="1">
                  <c:v>1.6611</c:v>
                </c:pt>
                <c:pt idx="2">
                  <c:v>2.5226999999999999</c:v>
                </c:pt>
                <c:pt idx="3">
                  <c:v>2.3923999999999999</c:v>
                </c:pt>
                <c:pt idx="4">
                  <c:v>2.4001999999999999</c:v>
                </c:pt>
                <c:pt idx="5">
                  <c:v>2.4596</c:v>
                </c:pt>
                <c:pt idx="6">
                  <c:v>2.7534999999999998</c:v>
                </c:pt>
                <c:pt idx="7">
                  <c:v>2.6608000000000001</c:v>
                </c:pt>
                <c:pt idx="8">
                  <c:v>1.7701</c:v>
                </c:pt>
              </c:numCache>
            </c:numRef>
          </c:xVal>
          <c:yVal>
            <c:numRef>
              <c:f>Sheet1!$B$2:$B$10</c:f>
              <c:numCache>
                <c:formatCode>General</c:formatCode>
                <c:ptCount val="9"/>
                <c:pt idx="0">
                  <c:v>1.131</c:v>
                </c:pt>
                <c:pt idx="1">
                  <c:v>0.69099999999999995</c:v>
                </c:pt>
                <c:pt idx="2">
                  <c:v>0.98699999999999999</c:v>
                </c:pt>
                <c:pt idx="3">
                  <c:v>1.0880000000000001</c:v>
                </c:pt>
                <c:pt idx="4">
                  <c:v>1.2669999999999999</c:v>
                </c:pt>
                <c:pt idx="5">
                  <c:v>1.0169999999999999</c:v>
                </c:pt>
                <c:pt idx="6">
                  <c:v>1.0469999999999999</c:v>
                </c:pt>
                <c:pt idx="7">
                  <c:v>1.4339999999999999</c:v>
                </c:pt>
                <c:pt idx="8">
                  <c:v>1.175</c:v>
                </c:pt>
              </c:numCache>
            </c:numRef>
          </c:yVal>
          <c:bubbleSize>
            <c:numRef>
              <c:f>Sheet1!$C$2:$C$10</c:f>
              <c:numCache>
                <c:formatCode>General</c:formatCode>
                <c:ptCount val="9"/>
                <c:pt idx="0">
                  <c:v>30956719</c:v>
                </c:pt>
                <c:pt idx="1">
                  <c:v>16850297</c:v>
                </c:pt>
                <c:pt idx="2">
                  <c:v>16088426</c:v>
                </c:pt>
                <c:pt idx="3">
                  <c:v>12545434</c:v>
                </c:pt>
                <c:pt idx="4">
                  <c:v>12208672</c:v>
                </c:pt>
                <c:pt idx="5">
                  <c:v>8124232</c:v>
                </c:pt>
                <c:pt idx="6">
                  <c:v>8119796</c:v>
                </c:pt>
                <c:pt idx="7">
                  <c:v>1583106</c:v>
                </c:pt>
                <c:pt idx="8">
                  <c:v>1509711</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Philadelphia</c:v>
                  </c:pt>
                  <c:pt idx="7">
                    <c:v>Kiri</c:v>
                  </c:pt>
                  <c:pt idx="8">
                    <c:v>Ronde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3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A283C7-1A6E-4378-9D91-626596329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0FE145-6006-40F0-82D3-2BFC1A42A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907D955-30F1-4DC4-8B4C-F1EC0FD4B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D500B5-E562-40EB-954A-58B52C564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B3FC49-77DF-46BA-8DDC-18D2F765A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E7FD848-2BFD-4A86-BDA1-70BEA7B037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DA349A-C5CD-4C3C-8C2A-92739F8AF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52A41B6-FE96-4290-8A9C-176106239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9500999999999999</c:v>
                </c:pt>
                <c:pt idx="1">
                  <c:v>1.4523999999999999</c:v>
                </c:pt>
                <c:pt idx="2">
                  <c:v>2.4236</c:v>
                </c:pt>
                <c:pt idx="3">
                  <c:v>2.4525000000000001</c:v>
                </c:pt>
                <c:pt idx="4">
                  <c:v>2.3136999999999999</c:v>
                </c:pt>
                <c:pt idx="5">
                  <c:v>2.4967000000000001</c:v>
                </c:pt>
                <c:pt idx="6">
                  <c:v>2.4449999999999998</c:v>
                </c:pt>
              </c:numCache>
            </c:numRef>
          </c:xVal>
          <c:yVal>
            <c:numRef>
              <c:f>Sheet1!$B$2:$B$8</c:f>
              <c:numCache>
                <c:formatCode>General</c:formatCode>
                <c:ptCount val="7"/>
                <c:pt idx="0">
                  <c:v>1.081</c:v>
                </c:pt>
                <c:pt idx="1">
                  <c:v>0.67800000000000005</c:v>
                </c:pt>
                <c:pt idx="2">
                  <c:v>1.276</c:v>
                </c:pt>
                <c:pt idx="3">
                  <c:v>0.97599999999999998</c:v>
                </c:pt>
                <c:pt idx="4">
                  <c:v>1.087</c:v>
                </c:pt>
                <c:pt idx="5">
                  <c:v>1.0640000000000001</c:v>
                </c:pt>
                <c:pt idx="6">
                  <c:v>0.96699999999999997</c:v>
                </c:pt>
              </c:numCache>
            </c:numRef>
          </c:yVal>
          <c:bubbleSize>
            <c:numRef>
              <c:f>Sheet1!$C$2:$C$8</c:f>
              <c:numCache>
                <c:formatCode>General</c:formatCode>
                <c:ptCount val="7"/>
                <c:pt idx="0">
                  <c:v>30253337</c:v>
                </c:pt>
                <c:pt idx="1">
                  <c:v>14481315</c:v>
                </c:pt>
                <c:pt idx="2">
                  <c:v>14007524</c:v>
                </c:pt>
                <c:pt idx="3">
                  <c:v>12109563</c:v>
                </c:pt>
                <c:pt idx="4">
                  <c:v>11825696</c:v>
                </c:pt>
                <c:pt idx="5">
                  <c:v>5828870</c:v>
                </c:pt>
                <c:pt idx="6">
                  <c:v>3949392</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Boursin</c:v>
                  </c:pt>
                  <c:pt idx="3">
                    <c:v>Paysan Breton</c:v>
                  </c:pt>
                  <c:pt idx="4">
                    <c:v>Tartare</c:v>
                  </c:pt>
                  <c:pt idx="5">
                    <c:v>Carre Frais</c:v>
                  </c:pt>
                  <c:pt idx="6">
                    <c:v>Philadelph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E03815-7C23-41F4-8613-1F7D44868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DD7C10-49C6-4CC0-AC3B-64D52E514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7FBA15B-273C-4B67-ABCA-1CE79BC02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3A631C-2960-4625-985B-FC801CD3B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8FEFB0-BB31-48C5-87BA-2E7E6F997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EBC13E-8B1F-4A48-8439-A90C1878D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8E0A29D-9CE5-477D-9981-00552E10B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0024690-1FF7-4E12-A427-9A528CE7A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124000000000001</c:v>
                </c:pt>
                <c:pt idx="1">
                  <c:v>2.2103999999999999</c:v>
                </c:pt>
                <c:pt idx="2">
                  <c:v>2.1956000000000002</c:v>
                </c:pt>
                <c:pt idx="3">
                  <c:v>2.9782000000000002</c:v>
                </c:pt>
                <c:pt idx="4">
                  <c:v>2.7964000000000002</c:v>
                </c:pt>
                <c:pt idx="5">
                  <c:v>2.2454000000000001</c:v>
                </c:pt>
              </c:numCache>
            </c:numRef>
          </c:xVal>
          <c:yVal>
            <c:numRef>
              <c:f>Sheet1!$B$2:$B$7</c:f>
              <c:numCache>
                <c:formatCode>General</c:formatCode>
                <c:ptCount val="6"/>
                <c:pt idx="0">
                  <c:v>0.91100000000000003</c:v>
                </c:pt>
                <c:pt idx="1">
                  <c:v>1.0169999999999999</c:v>
                </c:pt>
                <c:pt idx="2">
                  <c:v>1.163</c:v>
                </c:pt>
                <c:pt idx="3">
                  <c:v>1.099</c:v>
                </c:pt>
                <c:pt idx="4">
                  <c:v>1.5089999999999999</c:v>
                </c:pt>
                <c:pt idx="5">
                  <c:v>1.514</c:v>
                </c:pt>
              </c:numCache>
            </c:numRef>
          </c:yVal>
          <c:bubbleSize>
            <c:numRef>
              <c:f>Sheet1!$C$2:$C$7</c:f>
              <c:numCache>
                <c:formatCode>General</c:formatCode>
                <c:ptCount val="6"/>
                <c:pt idx="0">
                  <c:v>648086880</c:v>
                </c:pt>
                <c:pt idx="1">
                  <c:v>128025062</c:v>
                </c:pt>
                <c:pt idx="2">
                  <c:v>80048487</c:v>
                </c:pt>
                <c:pt idx="3">
                  <c:v>67882460</c:v>
                </c:pt>
                <c:pt idx="4">
                  <c:v>18235670</c:v>
                </c:pt>
                <c:pt idx="5">
                  <c:v>1187022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97B40B-56CD-4750-B3BA-320BFACDA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DF90B4-7D82-49DC-A4C1-67EE3FC4E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F665C7-B1EF-42EF-ADEF-5F02BF04F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3FC3C5-A367-4404-9DB6-87BA4DCF4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E401AF0-BFAB-415C-97B8-0A00B0EA5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C3DD80-756A-424C-AB1C-B969696CB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0B180AB-161F-4EE3-9D14-7B4BCE2072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1942C75-9549-4D72-81CE-047CB9E3C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006</c:v>
                </c:pt>
                <c:pt idx="1">
                  <c:v>2.1936</c:v>
                </c:pt>
                <c:pt idx="2">
                  <c:v>2.3405</c:v>
                </c:pt>
                <c:pt idx="3">
                  <c:v>3.0482</c:v>
                </c:pt>
                <c:pt idx="4">
                  <c:v>2.7654000000000001</c:v>
                </c:pt>
                <c:pt idx="5">
                  <c:v>2.2364000000000002</c:v>
                </c:pt>
              </c:numCache>
            </c:numRef>
          </c:xVal>
          <c:yVal>
            <c:numRef>
              <c:f>Sheet1!$B$2:$B$7</c:f>
              <c:numCache>
                <c:formatCode>General</c:formatCode>
                <c:ptCount val="6"/>
                <c:pt idx="0">
                  <c:v>0.91800000000000004</c:v>
                </c:pt>
                <c:pt idx="1">
                  <c:v>0.94699999999999995</c:v>
                </c:pt>
                <c:pt idx="2">
                  <c:v>1.149</c:v>
                </c:pt>
                <c:pt idx="3">
                  <c:v>1.032</c:v>
                </c:pt>
                <c:pt idx="4">
                  <c:v>1.3859999999999999</c:v>
                </c:pt>
                <c:pt idx="5">
                  <c:v>1.403</c:v>
                </c:pt>
              </c:numCache>
            </c:numRef>
          </c:yVal>
          <c:bubbleSize>
            <c:numRef>
              <c:f>Sheet1!$C$2:$C$7</c:f>
              <c:numCache>
                <c:formatCode>General</c:formatCode>
                <c:ptCount val="6"/>
                <c:pt idx="0">
                  <c:v>111360239</c:v>
                </c:pt>
                <c:pt idx="1">
                  <c:v>19606463</c:v>
                </c:pt>
                <c:pt idx="2">
                  <c:v>15221952</c:v>
                </c:pt>
                <c:pt idx="3">
                  <c:v>12937123</c:v>
                </c:pt>
                <c:pt idx="4">
                  <c:v>3699783</c:v>
                </c:pt>
                <c:pt idx="5">
                  <c:v>31968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6D0E70-CA35-40BB-AB32-34553F837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36AAAD-4DEE-4417-8080-813D23CF6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3B8613-472B-41BF-AB82-945FDB60F9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1709AB-8621-4285-AB75-5599CD069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1AAB27-2CE1-47E4-A398-59AD890D7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FAD0B20-6B5A-43B5-8F8C-EC6D88FC7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419CE8B-975E-4D70-BEE7-6530A8EA0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933F1D-531D-444F-8992-23F6EDBC7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8496999999999999</c:v>
                </c:pt>
                <c:pt idx="1">
                  <c:v>2.2946</c:v>
                </c:pt>
                <c:pt idx="2">
                  <c:v>2.9693999999999998</c:v>
                </c:pt>
                <c:pt idx="3">
                  <c:v>2.3797000000000001</c:v>
                </c:pt>
                <c:pt idx="4">
                  <c:v>2.8961999999999999</c:v>
                </c:pt>
                <c:pt idx="5">
                  <c:v>2.3374000000000001</c:v>
                </c:pt>
              </c:numCache>
            </c:numRef>
          </c:xVal>
          <c:yVal>
            <c:numRef>
              <c:f>Sheet1!$B$2:$B$7</c:f>
              <c:numCache>
                <c:formatCode>General</c:formatCode>
                <c:ptCount val="6"/>
                <c:pt idx="0">
                  <c:v>0.88700000000000001</c:v>
                </c:pt>
                <c:pt idx="1">
                  <c:v>1.0820000000000001</c:v>
                </c:pt>
                <c:pt idx="2">
                  <c:v>1.1160000000000001</c:v>
                </c:pt>
                <c:pt idx="3">
                  <c:v>1.236</c:v>
                </c:pt>
                <c:pt idx="4">
                  <c:v>1.621</c:v>
                </c:pt>
                <c:pt idx="5">
                  <c:v>1.6379999999999999</c:v>
                </c:pt>
              </c:numCache>
            </c:numRef>
          </c:yVal>
          <c:bubbleSize>
            <c:numRef>
              <c:f>Sheet1!$C$2:$C$7</c:f>
              <c:numCache>
                <c:formatCode>General</c:formatCode>
                <c:ptCount val="6"/>
                <c:pt idx="0">
                  <c:v>70217825</c:v>
                </c:pt>
                <c:pt idx="1">
                  <c:v>23364293</c:v>
                </c:pt>
                <c:pt idx="2">
                  <c:v>10441025</c:v>
                </c:pt>
                <c:pt idx="3">
                  <c:v>7314596</c:v>
                </c:pt>
                <c:pt idx="4">
                  <c:v>2904193</c:v>
                </c:pt>
                <c:pt idx="5">
                  <c:v>1794318</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3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B$2:$B$10</c:f>
              <c:numCache>
                <c:formatCode>General</c:formatCode>
                <c:ptCount val="9"/>
                <c:pt idx="0">
                  <c:v>2.1682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C$2:$C$10</c:f>
              <c:numCache>
                <c:formatCode>General</c:formatCode>
                <c:ptCount val="9"/>
                <c:pt idx="0">
                  <c:v>1.3113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D$2:$D$10</c:f>
              <c:numCache>
                <c:formatCode>General</c:formatCode>
                <c:ptCount val="9"/>
                <c:pt idx="0">
                  <c:v>1.7810999999999999</c:v>
                </c:pt>
                <c:pt idx="4">
                  <c:v>2.3321999999999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E$2:$E$10</c:f>
              <c:numCache>
                <c:formatCode>General</c:formatCode>
                <c:ptCount val="9"/>
                <c:pt idx="0">
                  <c:v>2.1044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F$2:$F$10</c:f>
              <c:numCache>
                <c:formatCode>General</c:formatCode>
                <c:ptCount val="9"/>
                <c:pt idx="0">
                  <c:v>2.3247</c:v>
                </c:pt>
                <c:pt idx="3">
                  <c:v>2.2473000000000001</c:v>
                </c:pt>
                <c:pt idx="5">
                  <c:v>3.0304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G$2:$G$10</c:f>
              <c:numCache>
                <c:formatCode>General</c:formatCode>
                <c:ptCount val="9"/>
                <c:pt idx="0">
                  <c:v>2.0733999999999999</c:v>
                </c:pt>
                <c:pt idx="1">
                  <c:v>3.1078999999999999</c:v>
                </c:pt>
                <c:pt idx="2">
                  <c:v>2.0386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64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H$2:$H$10</c:f>
              <c:numCache>
                <c:formatCode>General</c:formatCode>
                <c:ptCount val="9"/>
                <c:pt idx="8">
                  <c:v>4.1581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I$2:$I$10</c:f>
              <c:numCache>
                <c:formatCode>General</c:formatCode>
                <c:ptCount val="9"/>
                <c:pt idx="0">
                  <c:v>2.3258000000000001</c:v>
                </c:pt>
                <c:pt idx="4">
                  <c:v>3.5305</c:v>
                </c:pt>
                <c:pt idx="5">
                  <c:v>3.501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J$2:$J$10</c:f>
              <c:numCache>
                <c:formatCode>General</c:formatCode>
                <c:ptCount val="9"/>
                <c:pt idx="0">
                  <c:v>2.2444000000000002</c:v>
                </c:pt>
                <c:pt idx="6">
                  <c:v>2.706199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K$2:$K$10</c:f>
              <c:numCache>
                <c:formatCode>General</c:formatCode>
                <c:ptCount val="9"/>
                <c:pt idx="0">
                  <c:v>2.90289999999999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L$2:$L$10</c:f>
              <c:numCache>
                <c:formatCode>General</c:formatCode>
                <c:ptCount val="9"/>
                <c:pt idx="0">
                  <c:v>3.736400000000000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12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M$2:$M$10</c:f>
              <c:numCache>
                <c:formatCode>General</c:formatCode>
                <c:ptCount val="9"/>
                <c:pt idx="7">
                  <c:v>4.2690000000000001</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442CCD-77C8-4F3C-AE9F-D116DA59F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DDEEDF-E2BB-477C-B599-D3AC340E7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DA069B-45E8-478D-B973-25F8C80BFE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8E560BC-0EA6-4565-8EF8-22C9D14F8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F5C819-2149-47C4-9E12-0FC439899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8492E2B-F78A-4703-8A1F-811510008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1A4E60-DAE6-475E-B81D-6C6F7DDFD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DE32358-A227-447B-8E1F-BF7F02112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2008000000000001</c:v>
                </c:pt>
                <c:pt idx="1">
                  <c:v>2.3527999999999998</c:v>
                </c:pt>
                <c:pt idx="2">
                  <c:v>2.8315999999999999</c:v>
                </c:pt>
                <c:pt idx="3">
                  <c:v>3.2755999999999998</c:v>
                </c:pt>
                <c:pt idx="4">
                  <c:v>2.9988999999999999</c:v>
                </c:pt>
                <c:pt idx="5">
                  <c:v>3.2692000000000001</c:v>
                </c:pt>
                <c:pt idx="6">
                  <c:v>2.4649000000000001</c:v>
                </c:pt>
                <c:pt idx="7">
                  <c:v>3.7854999999999999</c:v>
                </c:pt>
                <c:pt idx="8">
                  <c:v>2.9653</c:v>
                </c:pt>
              </c:numCache>
            </c:numRef>
          </c:xVal>
          <c:yVal>
            <c:numRef>
              <c:f>Sheet1!$B$2:$B$10</c:f>
              <c:numCache>
                <c:formatCode>General</c:formatCode>
                <c:ptCount val="9"/>
                <c:pt idx="0">
                  <c:v>0.871</c:v>
                </c:pt>
                <c:pt idx="1">
                  <c:v>0.76</c:v>
                </c:pt>
                <c:pt idx="2">
                  <c:v>1.03</c:v>
                </c:pt>
                <c:pt idx="3">
                  <c:v>1.123</c:v>
                </c:pt>
                <c:pt idx="4">
                  <c:v>1.133</c:v>
                </c:pt>
                <c:pt idx="5">
                  <c:v>0.78500000000000003</c:v>
                </c:pt>
                <c:pt idx="6">
                  <c:v>0.67900000000000005</c:v>
                </c:pt>
                <c:pt idx="7">
                  <c:v>1.4730000000000001</c:v>
                </c:pt>
                <c:pt idx="8">
                  <c:v>1.018</c:v>
                </c:pt>
              </c:numCache>
            </c:numRef>
          </c:yVal>
          <c:bubbleSize>
            <c:numRef>
              <c:f>Sheet1!$C$2:$C$10</c:f>
              <c:numCache>
                <c:formatCode>General</c:formatCode>
                <c:ptCount val="9"/>
                <c:pt idx="0">
                  <c:v>265528414</c:v>
                </c:pt>
                <c:pt idx="1">
                  <c:v>39509333</c:v>
                </c:pt>
                <c:pt idx="2">
                  <c:v>34413794</c:v>
                </c:pt>
                <c:pt idx="3">
                  <c:v>32529804</c:v>
                </c:pt>
                <c:pt idx="4">
                  <c:v>32178133</c:v>
                </c:pt>
                <c:pt idx="5">
                  <c:v>30468388</c:v>
                </c:pt>
                <c:pt idx="6">
                  <c:v>25638814</c:v>
                </c:pt>
                <c:pt idx="7">
                  <c:v>23637907</c:v>
                </c:pt>
                <c:pt idx="8">
                  <c:v>22816387</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Coeur De Lion</c:v>
                  </c:pt>
                  <c:pt idx="7">
                    <c:v>Apericube</c:v>
                  </c:pt>
                  <c:pt idx="8">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7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Caprice Des Dieux</c:v>
                </c:pt>
                <c:pt idx="5">
                  <c:v>St Moret</c:v>
                </c:pt>
                <c:pt idx="6">
                  <c:v>La Vache Qui Rit</c:v>
                </c:pt>
                <c:pt idx="7">
                  <c:v>Coeur De Lion</c:v>
                </c:pt>
                <c:pt idx="8">
                  <c:v>Apericube</c:v>
                </c:pt>
              </c:strCache>
            </c:strRef>
          </c:cat>
          <c:val>
            <c:numRef>
              <c:f>Sheet1!$B$2:$B$10</c:f>
              <c:numCache>
                <c:formatCode>General</c:formatCode>
                <c:ptCount val="9"/>
                <c:pt idx="0">
                  <c:v>2.3593000000000002</c:v>
                </c:pt>
                <c:pt idx="1">
                  <c:v>2.8555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Caprice Des Dieux</c:v>
                </c:pt>
                <c:pt idx="5">
                  <c:v>St Moret</c:v>
                </c:pt>
                <c:pt idx="6">
                  <c:v>La Vache Qui Rit</c:v>
                </c:pt>
                <c:pt idx="7">
                  <c:v>Coeur De Lion</c:v>
                </c:pt>
                <c:pt idx="8">
                  <c:v>Apericube</c:v>
                </c:pt>
              </c:strCache>
            </c:strRef>
          </c:cat>
          <c:val>
            <c:numRef>
              <c:f>Sheet1!$C$2:$C$10</c:f>
              <c:numCache>
                <c:formatCode>General</c:formatCode>
                <c:ptCount val="9"/>
                <c:pt idx="0">
                  <c:v>1.3940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Caprice Des Dieux</c:v>
                </c:pt>
                <c:pt idx="5">
                  <c:v>St Moret</c:v>
                </c:pt>
                <c:pt idx="6">
                  <c:v>La Vache Qui Rit</c:v>
                </c:pt>
                <c:pt idx="7">
                  <c:v>Coeur De Lion</c:v>
                </c:pt>
                <c:pt idx="8">
                  <c:v>Apericube</c:v>
                </c:pt>
              </c:strCache>
            </c:strRef>
          </c:cat>
          <c:val>
            <c:numRef>
              <c:f>Sheet1!$D$2:$D$10</c:f>
              <c:numCache>
                <c:formatCode>General</c:formatCode>
                <c:ptCount val="9"/>
                <c:pt idx="0">
                  <c:v>2.0529000000000002</c:v>
                </c:pt>
                <c:pt idx="5">
                  <c:v>2.50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Caprice Des Dieux</c:v>
                </c:pt>
                <c:pt idx="5">
                  <c:v>St Moret</c:v>
                </c:pt>
                <c:pt idx="6">
                  <c:v>La Vache Qui Rit</c:v>
                </c:pt>
                <c:pt idx="7">
                  <c:v>Coeur De Lion</c:v>
                </c:pt>
                <c:pt idx="8">
                  <c:v>Apericube</c:v>
                </c:pt>
              </c:strCache>
            </c:strRef>
          </c:cat>
          <c:val>
            <c:numRef>
              <c:f>Sheet1!$E$2:$E$10</c:f>
              <c:numCache>
                <c:formatCode>General</c:formatCode>
                <c:ptCount val="9"/>
                <c:pt idx="0">
                  <c:v>2.2012</c:v>
                </c:pt>
                <c:pt idx="3">
                  <c:v>2.7412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Caprice Des Dieux</c:v>
                </c:pt>
                <c:pt idx="5">
                  <c:v>St Moret</c:v>
                </c:pt>
                <c:pt idx="6">
                  <c:v>La Vache Qui Rit</c:v>
                </c:pt>
                <c:pt idx="7">
                  <c:v>Coeur De Lion</c:v>
                </c:pt>
                <c:pt idx="8">
                  <c:v>Apericube</c:v>
                </c:pt>
              </c:strCache>
            </c:strRef>
          </c:cat>
          <c:val>
            <c:numRef>
              <c:f>Sheet1!$F$2:$F$10</c:f>
              <c:numCache>
                <c:formatCode>General</c:formatCode>
                <c:ptCount val="9"/>
                <c:pt idx="0">
                  <c:v>2.5657000000000001</c:v>
                </c:pt>
                <c:pt idx="3">
                  <c:v>2.4201999999999999</c:v>
                </c:pt>
                <c:pt idx="4">
                  <c:v>3.2183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Caprice Des Dieux</c:v>
                </c:pt>
                <c:pt idx="5">
                  <c:v>St Moret</c:v>
                </c:pt>
                <c:pt idx="6">
                  <c:v>La Vache Qui Rit</c:v>
                </c:pt>
                <c:pt idx="7">
                  <c:v>Coeur De Lion</c:v>
                </c:pt>
                <c:pt idx="8">
                  <c:v>Apericube</c:v>
                </c:pt>
              </c:strCache>
            </c:strRef>
          </c:cat>
          <c:val>
            <c:numRef>
              <c:f>Sheet1!$G$2:$G$10</c:f>
              <c:numCache>
                <c:formatCode>General</c:formatCode>
                <c:ptCount val="9"/>
                <c:pt idx="0">
                  <c:v>2.2867000000000002</c:v>
                </c:pt>
                <c:pt idx="1">
                  <c:v>3.4182999999999999</c:v>
                </c:pt>
                <c:pt idx="2">
                  <c:v>2.0737000000000001</c:v>
                </c:pt>
                <c:pt idx="8">
                  <c:v>4.4252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Caprice Des Dieux</c:v>
                </c:pt>
                <c:pt idx="5">
                  <c:v>St Moret</c:v>
                </c:pt>
                <c:pt idx="6">
                  <c:v>La Vache Qui Rit</c:v>
                </c:pt>
                <c:pt idx="7">
                  <c:v>Coeur De Lion</c:v>
                </c:pt>
                <c:pt idx="8">
                  <c:v>Apericube</c:v>
                </c:pt>
              </c:strCache>
            </c:strRef>
          </c:cat>
          <c:val>
            <c:numRef>
              <c:f>Sheet1!$H$2:$H$10</c:f>
              <c:numCache>
                <c:formatCode>General</c:formatCode>
                <c:ptCount val="9"/>
                <c:pt idx="0">
                  <c:v>2.3174999999999999</c:v>
                </c:pt>
                <c:pt idx="4">
                  <c:v>3.517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Caprice Des Dieux</c:v>
                </c:pt>
                <c:pt idx="5">
                  <c:v>St Moret</c:v>
                </c:pt>
                <c:pt idx="6">
                  <c:v>La Vache Qui Rit</c:v>
                </c:pt>
                <c:pt idx="7">
                  <c:v>Coeur De Lion</c:v>
                </c:pt>
                <c:pt idx="8">
                  <c:v>Apericube</c:v>
                </c:pt>
              </c:strCache>
            </c:strRef>
          </c:cat>
          <c:val>
            <c:numRef>
              <c:f>Sheet1!$I$2:$I$10</c:f>
              <c:numCache>
                <c:formatCode>General</c:formatCode>
                <c:ptCount val="9"/>
                <c:pt idx="0">
                  <c:v>2.2848000000000002</c:v>
                </c:pt>
                <c:pt idx="7">
                  <c:v>2.903300000000000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Caprice Des Dieux</c:v>
                </c:pt>
                <c:pt idx="5">
                  <c:v>St Moret</c:v>
                </c:pt>
                <c:pt idx="6">
                  <c:v>La Vache Qui Rit</c:v>
                </c:pt>
                <c:pt idx="7">
                  <c:v>Coeur De Lion</c:v>
                </c:pt>
                <c:pt idx="8">
                  <c:v>Apericube</c:v>
                </c:pt>
              </c:strCache>
            </c:strRef>
          </c:cat>
          <c:val>
            <c:numRef>
              <c:f>Sheet1!$J$2:$J$10</c:f>
              <c:numCache>
                <c:formatCode>General</c:formatCode>
                <c:ptCount val="9"/>
                <c:pt idx="0">
                  <c:v>2.735399999999999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Caprice Des Dieux</c:v>
                </c:pt>
                <c:pt idx="5">
                  <c:v>St Moret</c:v>
                </c:pt>
                <c:pt idx="6">
                  <c:v>La Vache Qui Rit</c:v>
                </c:pt>
                <c:pt idx="7">
                  <c:v>Coeur De Lion</c:v>
                </c:pt>
                <c:pt idx="8">
                  <c:v>Apericube</c:v>
                </c:pt>
              </c:strCache>
            </c:strRef>
          </c:cat>
          <c:val>
            <c:numRef>
              <c:f>Sheet1!$K$2:$K$10</c:f>
              <c:numCache>
                <c:formatCode>General</c:formatCode>
                <c:ptCount val="9"/>
                <c:pt idx="0">
                  <c:v>3.287399999999999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1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Caprice Des Dieux</c:v>
                </c:pt>
                <c:pt idx="5">
                  <c:v>St Moret</c:v>
                </c:pt>
                <c:pt idx="6">
                  <c:v>La Vache Qui Rit</c:v>
                </c:pt>
                <c:pt idx="7">
                  <c:v>Coeur De Lion</c:v>
                </c:pt>
                <c:pt idx="8">
                  <c:v>Apericube</c:v>
                </c:pt>
              </c:strCache>
            </c:strRef>
          </c:cat>
          <c:val>
            <c:numRef>
              <c:f>Sheet1!$L$2:$L$10</c:f>
              <c:numCache>
                <c:formatCode>General</c:formatCode>
                <c:ptCount val="9"/>
                <c:pt idx="6">
                  <c:v>3.9066000000000001</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Apericube</c:v>
                </c:pt>
                <c:pt idx="8">
                  <c:v>La Vache Qui Rit</c:v>
                </c:pt>
              </c:strCache>
            </c:strRef>
          </c:cat>
          <c:val>
            <c:numRef>
              <c:f>Sheet1!$B$2:$B$10</c:f>
              <c:numCache>
                <c:formatCode>General</c:formatCode>
                <c:ptCount val="9"/>
                <c:pt idx="0">
                  <c:v>1.2895000000000001</c:v>
                </c:pt>
                <c:pt idx="6">
                  <c:v>1.5113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Apericube</c:v>
                </c:pt>
                <c:pt idx="8">
                  <c:v>La Vache Qui Rit</c:v>
                </c:pt>
              </c:strCache>
            </c:strRef>
          </c:cat>
          <c:val>
            <c:numRef>
              <c:f>Sheet1!$C$2:$C$10</c:f>
              <c:numCache>
                <c:formatCode>General</c:formatCode>
                <c:ptCount val="9"/>
                <c:pt idx="0">
                  <c:v>1.7325999999999999</c:v>
                </c:pt>
                <c:pt idx="4">
                  <c:v>2.2576999999999998</c:v>
                </c:pt>
                <c:pt idx="6">
                  <c:v>3.0937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Apericube</c:v>
                </c:pt>
                <c:pt idx="8">
                  <c:v>La Vache Qui Rit</c:v>
                </c:pt>
              </c:strCache>
            </c:strRef>
          </c:cat>
          <c:val>
            <c:numRef>
              <c:f>Sheet1!$D$2:$D$10</c:f>
              <c:numCache>
                <c:formatCode>General</c:formatCode>
                <c:ptCount val="9"/>
                <c:pt idx="1">
                  <c:v>2.1227</c:v>
                </c:pt>
                <c:pt idx="2">
                  <c:v>2.7021000000000002</c:v>
                </c:pt>
                <c:pt idx="4">
                  <c:v>2.3105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92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Apericube</c:v>
                </c:pt>
                <c:pt idx="8">
                  <c:v>La Vache Qui Rit</c:v>
                </c:pt>
              </c:strCache>
            </c:strRef>
          </c:cat>
          <c:val>
            <c:numRef>
              <c:f>Sheet1!$E$2:$E$10</c:f>
              <c:numCache>
                <c:formatCode>General</c:formatCode>
                <c:ptCount val="9"/>
                <c:pt idx="8">
                  <c:v>2.4897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Apericube</c:v>
                </c:pt>
                <c:pt idx="8">
                  <c:v>La Vache Qui Rit</c:v>
                </c:pt>
              </c:strCache>
            </c:strRef>
          </c:cat>
          <c:val>
            <c:numRef>
              <c:f>Sheet1!$F$2:$F$10</c:f>
              <c:numCache>
                <c:formatCode>General</c:formatCode>
                <c:ptCount val="9"/>
                <c:pt idx="0">
                  <c:v>2.3763999999999998</c:v>
                </c:pt>
                <c:pt idx="2">
                  <c:v>2.2593999999999999</c:v>
                </c:pt>
                <c:pt idx="5">
                  <c:v>3.0556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Apericube</c:v>
                </c:pt>
                <c:pt idx="8">
                  <c:v>La Vache Qui Rit</c:v>
                </c:pt>
              </c:strCache>
            </c:strRef>
          </c:cat>
          <c:val>
            <c:numRef>
              <c:f>Sheet1!$G$2:$G$10</c:f>
              <c:numCache>
                <c:formatCode>General</c:formatCode>
                <c:ptCount val="9"/>
                <c:pt idx="0">
                  <c:v>1.8411</c:v>
                </c:pt>
                <c:pt idx="1">
                  <c:v>2.1223999999999998</c:v>
                </c:pt>
                <c:pt idx="3">
                  <c:v>2.9782999999999999</c:v>
                </c:pt>
                <c:pt idx="7">
                  <c:v>4.235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Apericube</c:v>
                </c:pt>
                <c:pt idx="8">
                  <c:v>La Vache Qui Rit</c:v>
                </c:pt>
              </c:strCache>
            </c:strRef>
          </c:cat>
          <c:val>
            <c:numRef>
              <c:f>Sheet1!$H$2:$H$10</c:f>
              <c:numCache>
                <c:formatCode>General</c:formatCode>
                <c:ptCount val="9"/>
                <c:pt idx="0">
                  <c:v>2.4459</c:v>
                </c:pt>
                <c:pt idx="2">
                  <c:v>3.2147000000000001</c:v>
                </c:pt>
                <c:pt idx="4">
                  <c:v>3.6261999999999999</c:v>
                </c:pt>
                <c:pt idx="5">
                  <c:v>3.7035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Apericube</c:v>
                </c:pt>
                <c:pt idx="8">
                  <c:v>La Vache Qui Rit</c:v>
                </c:pt>
              </c:strCache>
            </c:strRef>
          </c:cat>
          <c:val>
            <c:numRef>
              <c:f>Sheet1!$I$2:$I$10</c:f>
              <c:numCache>
                <c:formatCode>General</c:formatCode>
                <c:ptCount val="9"/>
                <c:pt idx="0">
                  <c:v>2.2509000000000001</c:v>
                </c:pt>
                <c:pt idx="1">
                  <c:v>2.93949999999999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Apericube</c:v>
                </c:pt>
                <c:pt idx="8">
                  <c:v>La Vache Qui Rit</c:v>
                </c:pt>
              </c:strCache>
            </c:strRef>
          </c:cat>
          <c:val>
            <c:numRef>
              <c:f>Sheet1!$J$2:$J$10</c:f>
              <c:numCache>
                <c:formatCode>General</c:formatCode>
                <c:ptCount val="9"/>
                <c:pt idx="0">
                  <c:v>3.1638000000000002</c:v>
                </c:pt>
                <c:pt idx="4">
                  <c:v>4.558200000000000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Apericube</c:v>
                </c:pt>
                <c:pt idx="8">
                  <c:v>La Vache Qui Rit</c:v>
                </c:pt>
              </c:strCache>
            </c:strRef>
          </c:cat>
          <c:val>
            <c:numRef>
              <c:f>Sheet1!$K$2:$K$10</c:f>
              <c:numCache>
                <c:formatCode>General</c:formatCode>
                <c:ptCount val="9"/>
                <c:pt idx="0">
                  <c:v>3.77559999999999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1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Apericube</c:v>
                </c:pt>
                <c:pt idx="8">
                  <c:v>La Vache Qui Rit</c:v>
                </c:pt>
              </c:strCache>
            </c:strRef>
          </c:cat>
          <c:val>
            <c:numRef>
              <c:f>Sheet1!$L$2:$L$10</c:f>
              <c:numCache>
                <c:formatCode>General</c:formatCode>
                <c:ptCount val="9"/>
                <c:pt idx="8">
                  <c:v>4.6340000000000003</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B$2:$B$10</c:f>
              <c:numCache>
                <c:formatCode>General</c:formatCode>
                <c:ptCount val="9"/>
                <c:pt idx="0">
                  <c:v>2.1682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C$2:$C$10</c:f>
              <c:numCache>
                <c:formatCode>General</c:formatCode>
                <c:ptCount val="9"/>
                <c:pt idx="0">
                  <c:v>1.3113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D$2:$D$10</c:f>
              <c:numCache>
                <c:formatCode>General</c:formatCode>
                <c:ptCount val="9"/>
                <c:pt idx="0">
                  <c:v>1.7788999999999999</c:v>
                </c:pt>
                <c:pt idx="4">
                  <c:v>2.3321999999999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E$2:$E$10</c:f>
              <c:numCache>
                <c:formatCode>General</c:formatCode>
                <c:ptCount val="9"/>
                <c:pt idx="0">
                  <c:v>2.1044999999999998</c:v>
                </c:pt>
                <c:pt idx="3">
                  <c:v>2.643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F$2:$F$10</c:f>
              <c:numCache>
                <c:formatCode>General</c:formatCode>
                <c:ptCount val="9"/>
                <c:pt idx="0">
                  <c:v>2.3249</c:v>
                </c:pt>
                <c:pt idx="3">
                  <c:v>2.2473000000000001</c:v>
                </c:pt>
                <c:pt idx="5">
                  <c:v>3.0304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G$2:$G$10</c:f>
              <c:numCache>
                <c:formatCode>General</c:formatCode>
                <c:ptCount val="9"/>
                <c:pt idx="0">
                  <c:v>2.0733999999999999</c:v>
                </c:pt>
                <c:pt idx="1">
                  <c:v>3.1078999999999999</c:v>
                </c:pt>
                <c:pt idx="2">
                  <c:v>2.0386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64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H$2:$H$10</c:f>
              <c:numCache>
                <c:formatCode>General</c:formatCode>
                <c:ptCount val="9"/>
                <c:pt idx="8">
                  <c:v>4.1581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I$2:$I$10</c:f>
              <c:numCache>
                <c:formatCode>General</c:formatCode>
                <c:ptCount val="9"/>
                <c:pt idx="0">
                  <c:v>2.3258000000000001</c:v>
                </c:pt>
                <c:pt idx="4">
                  <c:v>3.5305</c:v>
                </c:pt>
                <c:pt idx="5">
                  <c:v>3.501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J$2:$J$10</c:f>
              <c:numCache>
                <c:formatCode>General</c:formatCode>
                <c:ptCount val="9"/>
                <c:pt idx="0">
                  <c:v>2.2444000000000002</c:v>
                </c:pt>
                <c:pt idx="6">
                  <c:v>2.706199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K$2:$K$10</c:f>
              <c:numCache>
                <c:formatCode>General</c:formatCode>
                <c:ptCount val="9"/>
                <c:pt idx="0">
                  <c:v>2.90289999999999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L$2:$L$10</c:f>
              <c:numCache>
                <c:formatCode>General</c:formatCode>
                <c:ptCount val="9"/>
                <c:pt idx="0">
                  <c:v>3.736400000000000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12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oignon</c:v>
                </c:pt>
                <c:pt idx="4">
                  <c:v>St Moret</c:v>
                </c:pt>
                <c:pt idx="5">
                  <c:v>Caprice Des Dieux</c:v>
                </c:pt>
                <c:pt idx="6">
                  <c:v>Coeur De Lion</c:v>
                </c:pt>
                <c:pt idx="7">
                  <c:v>La Vache Qui Rit</c:v>
                </c:pt>
                <c:pt idx="8">
                  <c:v>Mini Babybel</c:v>
                </c:pt>
              </c:strCache>
            </c:strRef>
          </c:cat>
          <c:val>
            <c:numRef>
              <c:f>Sheet1!$M$2:$M$10</c:f>
              <c:numCache>
                <c:formatCode>General</c:formatCode>
                <c:ptCount val="9"/>
                <c:pt idx="7">
                  <c:v>4.2690000000000001</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B$2:$B$9</c:f>
              <c:numCache>
                <c:formatCode>General</c:formatCode>
                <c:ptCount val="8"/>
                <c:pt idx="0">
                  <c:v>2.3593000000000002</c:v>
                </c:pt>
                <c:pt idx="1">
                  <c:v>2.84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C$2:$C$9</c:f>
              <c:numCache>
                <c:formatCode>General</c:formatCode>
                <c:ptCount val="8"/>
                <c:pt idx="0">
                  <c:v>1.3940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D$2:$D$9</c:f>
              <c:numCache>
                <c:formatCode>General</c:formatCode>
                <c:ptCount val="8"/>
                <c:pt idx="0">
                  <c:v>2.0529000000000002</c:v>
                </c:pt>
                <c:pt idx="5">
                  <c:v>2.502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E$2:$E$9</c:f>
              <c:numCache>
                <c:formatCode>General</c:formatCode>
                <c:ptCount val="8"/>
                <c:pt idx="0">
                  <c:v>2.2012</c:v>
                </c:pt>
                <c:pt idx="3">
                  <c:v>2.7412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F$2:$F$9</c:f>
              <c:numCache>
                <c:formatCode>General</c:formatCode>
                <c:ptCount val="8"/>
                <c:pt idx="0">
                  <c:v>2.5657000000000001</c:v>
                </c:pt>
                <c:pt idx="1">
                  <c:v>3.7974999999999999</c:v>
                </c:pt>
                <c:pt idx="3">
                  <c:v>2.4201999999999999</c:v>
                </c:pt>
                <c:pt idx="4">
                  <c:v>3.2183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G$2:$G$9</c:f>
              <c:numCache>
                <c:formatCode>General</c:formatCode>
                <c:ptCount val="8"/>
                <c:pt idx="0">
                  <c:v>2.2867000000000002</c:v>
                </c:pt>
                <c:pt idx="1">
                  <c:v>3.4182999999999999</c:v>
                </c:pt>
                <c:pt idx="2">
                  <c:v>2.07370000000000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H$2:$H$9</c:f>
              <c:numCache>
                <c:formatCode>General</c:formatCode>
                <c:ptCount val="8"/>
                <c:pt idx="0">
                  <c:v>2.3174999999999999</c:v>
                </c:pt>
                <c:pt idx="4">
                  <c:v>3.517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I$2:$I$9</c:f>
              <c:numCache>
                <c:formatCode>General</c:formatCode>
                <c:ptCount val="8"/>
                <c:pt idx="0">
                  <c:v>2.2848000000000002</c:v>
                </c:pt>
                <c:pt idx="2">
                  <c:v>2.8197000000000001</c:v>
                </c:pt>
                <c:pt idx="7">
                  <c:v>2.903300000000000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J$2:$J$9</c:f>
              <c:numCache>
                <c:formatCode>General</c:formatCode>
                <c:ptCount val="8"/>
                <c:pt idx="0">
                  <c:v>2.735399999999999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K$2:$K$9</c:f>
              <c:numCache>
                <c:formatCode>General</c:formatCode>
                <c:ptCount val="8"/>
                <c:pt idx="0">
                  <c:v>3.287399999999999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1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Soignon</c:v>
                </c:pt>
                <c:pt idx="4">
                  <c:v>Caprice Des Dieux</c:v>
                </c:pt>
                <c:pt idx="5">
                  <c:v>St Moret</c:v>
                </c:pt>
                <c:pt idx="6">
                  <c:v>La Vache Qui Rit</c:v>
                </c:pt>
                <c:pt idx="7">
                  <c:v>Coeur De Lion</c:v>
                </c:pt>
              </c:strCache>
            </c:strRef>
          </c:cat>
          <c:val>
            <c:numRef>
              <c:f>Sheet1!$L$2:$L$9</c:f>
              <c:numCache>
                <c:formatCode>General</c:formatCode>
                <c:ptCount val="8"/>
                <c:pt idx="6">
                  <c:v>3.9066000000000001</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B$2:$B$10</c:f>
              <c:numCache>
                <c:formatCode>General</c:formatCode>
                <c:ptCount val="9"/>
                <c:pt idx="0">
                  <c:v>1.2895000000000001</c:v>
                </c:pt>
                <c:pt idx="6">
                  <c:v>1.5113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C$2:$C$10</c:f>
              <c:numCache>
                <c:formatCode>General</c:formatCode>
                <c:ptCount val="9"/>
                <c:pt idx="0">
                  <c:v>1.7325999999999999</c:v>
                </c:pt>
                <c:pt idx="4">
                  <c:v>2.2576999999999998</c:v>
                </c:pt>
                <c:pt idx="6">
                  <c:v>3.0937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D$2:$D$10</c:f>
              <c:numCache>
                <c:formatCode>General</c:formatCode>
                <c:ptCount val="9"/>
                <c:pt idx="1">
                  <c:v>2.1227</c:v>
                </c:pt>
                <c:pt idx="2">
                  <c:v>2.7021000000000002</c:v>
                </c:pt>
                <c:pt idx="4">
                  <c:v>2.3105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92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E$2:$E$10</c:f>
              <c:numCache>
                <c:formatCode>General</c:formatCode>
                <c:ptCount val="9"/>
                <c:pt idx="7">
                  <c:v>2.4897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F$2:$F$10</c:f>
              <c:numCache>
                <c:formatCode>General</c:formatCode>
                <c:ptCount val="9"/>
                <c:pt idx="0">
                  <c:v>2.3788</c:v>
                </c:pt>
                <c:pt idx="2">
                  <c:v>2.2593999999999999</c:v>
                </c:pt>
                <c:pt idx="5">
                  <c:v>3.0556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G$2:$G$10</c:f>
              <c:numCache>
                <c:formatCode>General</c:formatCode>
                <c:ptCount val="9"/>
                <c:pt idx="0">
                  <c:v>1.8411</c:v>
                </c:pt>
                <c:pt idx="1">
                  <c:v>2.1223999999999998</c:v>
                </c:pt>
                <c:pt idx="3">
                  <c:v>2.9782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H$2:$H$10</c:f>
              <c:numCache>
                <c:formatCode>General</c:formatCode>
                <c:ptCount val="9"/>
                <c:pt idx="0">
                  <c:v>2.4459</c:v>
                </c:pt>
                <c:pt idx="2">
                  <c:v>3.2147000000000001</c:v>
                </c:pt>
                <c:pt idx="4">
                  <c:v>3.6261999999999999</c:v>
                </c:pt>
                <c:pt idx="5">
                  <c:v>3.7035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I$2:$I$10</c:f>
              <c:numCache>
                <c:formatCode>General</c:formatCode>
                <c:ptCount val="9"/>
                <c:pt idx="0">
                  <c:v>2.2509000000000001</c:v>
                </c:pt>
                <c:pt idx="1">
                  <c:v>2.9394999999999998</c:v>
                </c:pt>
                <c:pt idx="8">
                  <c:v>2.822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J$2:$J$10</c:f>
              <c:numCache>
                <c:formatCode>General</c:formatCode>
                <c:ptCount val="9"/>
                <c:pt idx="0">
                  <c:v>3.1638000000000002</c:v>
                </c:pt>
                <c:pt idx="4">
                  <c:v>4.558200000000000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K$2:$K$10</c:f>
              <c:numCache>
                <c:formatCode>General</c:formatCode>
                <c:ptCount val="9"/>
                <c:pt idx="0">
                  <c:v>3.77559999999999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1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President</c:v>
                </c:pt>
                <c:pt idx="2">
                  <c:v>Soignon</c:v>
                </c:pt>
                <c:pt idx="3">
                  <c:v>All Others</c:v>
                </c:pt>
                <c:pt idx="4">
                  <c:v>St Moret</c:v>
                </c:pt>
                <c:pt idx="5">
                  <c:v>Caprice Des Dieux</c:v>
                </c:pt>
                <c:pt idx="6">
                  <c:v>Galbani</c:v>
                </c:pt>
                <c:pt idx="7">
                  <c:v>La Vache Qui Rit</c:v>
                </c:pt>
                <c:pt idx="8">
                  <c:v>Coeur De Lion</c:v>
                </c:pt>
              </c:strCache>
            </c:strRef>
          </c:cat>
          <c:val>
            <c:numRef>
              <c:f>Sheet1!$L$2:$L$10</c:f>
              <c:numCache>
                <c:formatCode>General</c:formatCode>
                <c:ptCount val="9"/>
                <c:pt idx="7">
                  <c:v>4.6340000000000003</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B$2:$B$7</c:f>
              <c:numCache>
                <c:formatCode>General</c:formatCode>
                <c:ptCount val="6"/>
                <c:pt idx="1">
                  <c:v>2.0247000000000002</c:v>
                </c:pt>
                <c:pt idx="2">
                  <c:v>3.3784000000000001</c:v>
                </c:pt>
                <c:pt idx="3">
                  <c:v>2.8323</c:v>
                </c:pt>
                <c:pt idx="4">
                  <c:v>2.6101999999999999</c:v>
                </c:pt>
                <c:pt idx="5">
                  <c:v>5.34510000000000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C$2:$C$7</c:f>
              <c:numCache>
                <c:formatCode>General</c:formatCode>
                <c:ptCount val="6"/>
                <c:pt idx="0">
                  <c:v>2.3715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D$2:$D$7</c:f>
              <c:numCache>
                <c:formatCode>General</c:formatCode>
                <c:ptCount val="6"/>
                <c:pt idx="0">
                  <c:v>4.14700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B$2:$B$7</c:f>
              <c:numCache>
                <c:formatCode>General</c:formatCode>
                <c:ptCount val="6"/>
                <c:pt idx="1">
                  <c:v>2.1145</c:v>
                </c:pt>
                <c:pt idx="2">
                  <c:v>3.4693000000000001</c:v>
                </c:pt>
                <c:pt idx="3">
                  <c:v>3.0528</c:v>
                </c:pt>
                <c:pt idx="4">
                  <c:v>2.6516999999999999</c:v>
                </c:pt>
                <c:pt idx="5">
                  <c:v>5.70129999999999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C$2:$C$7</c:f>
              <c:numCache>
                <c:formatCode>General</c:formatCode>
                <c:ptCount val="6"/>
                <c:pt idx="0">
                  <c:v>2.4519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D$2:$D$7</c:f>
              <c:numCache>
                <c:formatCode>General</c:formatCode>
                <c:ptCount val="6"/>
                <c:pt idx="0">
                  <c:v>4.425200000000000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Apericube</c:v>
                </c:pt>
                <c:pt idx="1">
                  <c:v>Aperivrais</c:v>
                </c:pt>
                <c:pt idx="2">
                  <c:v>Boursin</c:v>
                </c:pt>
                <c:pt idx="3">
                  <c:v>St Moret</c:v>
                </c:pt>
                <c:pt idx="4">
                  <c:v>Private Label</c:v>
                </c:pt>
                <c:pt idx="5">
                  <c:v>Entremont</c:v>
                </c:pt>
              </c:strCache>
            </c:strRef>
          </c:cat>
          <c:val>
            <c:numRef>
              <c:f>Sheet1!$B$2:$B$7</c:f>
              <c:numCache>
                <c:formatCode>General</c:formatCode>
                <c:ptCount val="6"/>
                <c:pt idx="1">
                  <c:v>2.1533000000000002</c:v>
                </c:pt>
                <c:pt idx="2">
                  <c:v>3.3626999999999998</c:v>
                </c:pt>
                <c:pt idx="3">
                  <c:v>2.6185</c:v>
                </c:pt>
                <c:pt idx="4">
                  <c:v>2.7747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St Moret</c:v>
                </c:pt>
                <c:pt idx="4">
                  <c:v>Private Label</c:v>
                </c:pt>
                <c:pt idx="5">
                  <c:v>Entremont</c:v>
                </c:pt>
              </c:strCache>
            </c:strRef>
          </c:cat>
          <c:val>
            <c:numRef>
              <c:f>Sheet1!$C$2:$C$7</c:f>
              <c:numCache>
                <c:formatCode>General</c:formatCode>
                <c:ptCount val="6"/>
                <c:pt idx="0">
                  <c:v>2.31199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St Moret</c:v>
                </c:pt>
                <c:pt idx="4">
                  <c:v>Private Label</c:v>
                </c:pt>
                <c:pt idx="5">
                  <c:v>Entremont</c:v>
                </c:pt>
              </c:strCache>
            </c:strRef>
          </c:cat>
          <c:val>
            <c:numRef>
              <c:f>Sheet1!$D$2:$D$7</c:f>
              <c:numCache>
                <c:formatCode>General</c:formatCode>
                <c:ptCount val="6"/>
                <c:pt idx="5">
                  <c:v>2.825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St Moret</c:v>
                </c:pt>
                <c:pt idx="4">
                  <c:v>Private Label</c:v>
                </c:pt>
                <c:pt idx="5">
                  <c:v>Entremont</c:v>
                </c:pt>
              </c:strCache>
            </c:strRef>
          </c:cat>
          <c:val>
            <c:numRef>
              <c:f>Sheet1!$E$2:$E$7</c:f>
              <c:numCache>
                <c:formatCode>General</c:formatCode>
                <c:ptCount val="6"/>
                <c:pt idx="4">
                  <c:v>2.2357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St Moret</c:v>
                </c:pt>
                <c:pt idx="4">
                  <c:v>Private Label</c:v>
                </c:pt>
                <c:pt idx="5">
                  <c:v>Entremont</c:v>
                </c:pt>
              </c:strCache>
            </c:strRef>
          </c:cat>
          <c:val>
            <c:numRef>
              <c:f>Sheet1!$F$2:$F$7</c:f>
              <c:numCache>
                <c:formatCode>General</c:formatCode>
                <c:ptCount val="6"/>
                <c:pt idx="0">
                  <c:v>4.235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8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a Vache Qui Rit</c:v>
                </c:pt>
                <c:pt idx="1">
                  <c:v>Mini Babybel</c:v>
                </c:pt>
                <c:pt idx="2">
                  <c:v>Kiri</c:v>
                </c:pt>
                <c:pt idx="3">
                  <c:v>Private Label</c:v>
                </c:pt>
                <c:pt idx="4">
                  <c:v>Ficello</c:v>
                </c:pt>
              </c:strCache>
            </c:strRef>
          </c:cat>
          <c:val>
            <c:numRef>
              <c:f>Sheet1!$B$2:$B$6</c:f>
              <c:numCache>
                <c:formatCode>General</c:formatCode>
                <c:ptCount val="5"/>
                <c:pt idx="0">
                  <c:v>2.0371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2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C$2:$C$6</c:f>
              <c:numCache>
                <c:formatCode>General</c:formatCode>
                <c:ptCount val="5"/>
                <c:pt idx="1">
                  <c:v>2.4822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4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D$2:$D$6</c:f>
              <c:numCache>
                <c:formatCode>General</c:formatCode>
                <c:ptCount val="5"/>
                <c:pt idx="2">
                  <c:v>2.3168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8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E$2:$E$6</c:f>
              <c:numCache>
                <c:formatCode>General</c:formatCode>
                <c:ptCount val="5"/>
                <c:pt idx="4">
                  <c:v>3.4906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5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F$2:$F$6</c:f>
              <c:numCache>
                <c:formatCode>General</c:formatCode>
                <c:ptCount val="5"/>
                <c:pt idx="0">
                  <c:v>2.3717000000000001</c:v>
                </c:pt>
                <c:pt idx="2">
                  <c:v>2.3315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a Vache Qui Rit</c:v>
                </c:pt>
                <c:pt idx="1">
                  <c:v>Mini Babybel</c:v>
                </c:pt>
                <c:pt idx="2">
                  <c:v>Kiri</c:v>
                </c:pt>
                <c:pt idx="3">
                  <c:v>Private Label</c:v>
                </c:pt>
                <c:pt idx="4">
                  <c:v>Ficello</c:v>
                </c:pt>
              </c:strCache>
            </c:strRef>
          </c:cat>
          <c:val>
            <c:numRef>
              <c:f>Sheet1!$G$2:$G$6</c:f>
              <c:numCache>
                <c:formatCode>General</c:formatCode>
                <c:ptCount val="5"/>
                <c:pt idx="1">
                  <c:v>3.2867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2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a Vache Qui Rit</c:v>
                </c:pt>
                <c:pt idx="1">
                  <c:v>Mini Babybel</c:v>
                </c:pt>
                <c:pt idx="2">
                  <c:v>Kiri</c:v>
                </c:pt>
                <c:pt idx="3">
                  <c:v>Private Label</c:v>
                </c:pt>
                <c:pt idx="4">
                  <c:v>Ficello</c:v>
                </c:pt>
              </c:strCache>
            </c:strRef>
          </c:cat>
          <c:val>
            <c:numRef>
              <c:f>Sheet1!$H$2:$H$6</c:f>
              <c:numCache>
                <c:formatCode>General</c:formatCode>
                <c:ptCount val="5"/>
                <c:pt idx="0">
                  <c:v>2.61350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6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I$2:$I$6</c:f>
              <c:numCache>
                <c:formatCode>General</c:formatCode>
                <c:ptCount val="5"/>
                <c:pt idx="2">
                  <c:v>2.8616999999999999</c:v>
                </c:pt>
                <c:pt idx="3">
                  <c:v>1.869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a Vache Qui Rit</c:v>
                </c:pt>
                <c:pt idx="1">
                  <c:v>Mini Babybel</c:v>
                </c:pt>
                <c:pt idx="2">
                  <c:v>Kiri</c:v>
                </c:pt>
                <c:pt idx="3">
                  <c:v>Private Label</c:v>
                </c:pt>
                <c:pt idx="4">
                  <c:v>Ficello</c:v>
                </c:pt>
              </c:strCache>
            </c:strRef>
          </c:cat>
          <c:val>
            <c:numRef>
              <c:f>Sheet1!$J$2:$J$6</c:f>
              <c:numCache>
                <c:formatCode>General</c:formatCode>
                <c:ptCount val="5"/>
                <c:pt idx="1">
                  <c:v>4.025599999999999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K$2:$K$6</c:f>
              <c:numCache>
                <c:formatCode>General</c:formatCode>
                <c:ptCount val="5"/>
                <c:pt idx="3">
                  <c:v>2.00179999999999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6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L$2:$L$6</c:f>
              <c:numCache>
                <c:formatCode>General</c:formatCode>
                <c:ptCount val="5"/>
                <c:pt idx="0">
                  <c:v>2.934200000000000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64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a Vache Qui Rit</c:v>
                </c:pt>
                <c:pt idx="1">
                  <c:v>Mini Babybel</c:v>
                </c:pt>
                <c:pt idx="2">
                  <c:v>Kiri</c:v>
                </c:pt>
                <c:pt idx="3">
                  <c:v>Private Label</c:v>
                </c:pt>
                <c:pt idx="4">
                  <c:v>Ficello</c:v>
                </c:pt>
              </c:strCache>
            </c:strRef>
          </c:cat>
          <c:val>
            <c:numRef>
              <c:f>Sheet1!$M$2:$M$6</c:f>
              <c:numCache>
                <c:formatCode>General</c:formatCode>
                <c:ptCount val="5"/>
                <c:pt idx="1">
                  <c:v>4.158199999999999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80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N$2:$N$6</c:f>
              <c:numCache>
                <c:formatCode>General</c:formatCode>
                <c:ptCount val="5"/>
                <c:pt idx="2">
                  <c:v>3.557300000000000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O$2:$O$6</c:f>
              <c:numCache>
                <c:formatCode>General</c:formatCode>
                <c:ptCount val="5"/>
                <c:pt idx="0">
                  <c:v>3.756400000000000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P$2:$P$6</c:f>
              <c:numCache>
                <c:formatCode>General</c:formatCode>
                <c:ptCount val="5"/>
                <c:pt idx="3">
                  <c:v>2.558800000000000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Q$2:$Q$6</c:f>
              <c:numCache>
                <c:formatCode>General</c:formatCode>
                <c:ptCount val="5"/>
                <c:pt idx="2">
                  <c:v>4.6334</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R$2:$R$6</c:f>
              <c:numCache>
                <c:formatCode>General</c:formatCode>
                <c:ptCount val="5"/>
                <c:pt idx="1">
                  <c:v>5.845900000000000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S$2:$S$6</c:f>
              <c:numCache>
                <c:formatCode>General</c:formatCode>
                <c:ptCount val="5"/>
                <c:pt idx="0">
                  <c:v>4.2690000000000001</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Vache Qui Rit</c:v>
                </c:pt>
                <c:pt idx="1">
                  <c:v>Mini Babybel</c:v>
                </c:pt>
                <c:pt idx="2">
                  <c:v>Kiri</c:v>
                </c:pt>
                <c:pt idx="3">
                  <c:v>Private Label</c:v>
                </c:pt>
                <c:pt idx="4">
                  <c:v>Ficello</c:v>
                </c:pt>
              </c:strCache>
            </c:strRef>
          </c:cat>
          <c:val>
            <c:numRef>
              <c:f>Sheet1!$T$2:$T$6</c:f>
              <c:numCache>
                <c:formatCode>General</c:formatCode>
                <c:ptCount val="5"/>
                <c:pt idx="4">
                  <c:v>2.154799999999999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8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B$2:$B$7</c:f>
              <c:numCache>
                <c:formatCode>General</c:formatCode>
                <c:ptCount val="6"/>
                <c:pt idx="0">
                  <c:v>2.0430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2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C$2:$C$7</c:f>
              <c:numCache>
                <c:formatCode>General</c:formatCode>
                <c:ptCount val="6"/>
                <c:pt idx="1">
                  <c:v>2.5712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D$2:$D$7</c:f>
              <c:numCache>
                <c:formatCode>General</c:formatCode>
                <c:ptCount val="6"/>
                <c:pt idx="3">
                  <c:v>1.17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4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E$2:$E$7</c:f>
              <c:numCache>
                <c:formatCode>General</c:formatCode>
                <c:ptCount val="6"/>
                <c:pt idx="2">
                  <c:v>2.3031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F$2:$F$7</c:f>
              <c:numCache>
                <c:formatCode>General</c:formatCode>
                <c:ptCount val="6"/>
                <c:pt idx="5">
                  <c:v>2.9266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6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G$2:$G$7</c:f>
              <c:numCache>
                <c:formatCode>General</c:formatCode>
                <c:ptCount val="6"/>
                <c:pt idx="4">
                  <c:v>3.4824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H$2:$H$7</c:f>
              <c:numCache>
                <c:formatCode>General</c:formatCode>
                <c:ptCount val="6"/>
                <c:pt idx="0">
                  <c:v>2.2818000000000001</c:v>
                </c:pt>
                <c:pt idx="2">
                  <c:v>2.29660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92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I$2:$I$7</c:f>
              <c:numCache>
                <c:formatCode>General</c:formatCode>
                <c:ptCount val="6"/>
                <c:pt idx="0">
                  <c:v>2.764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16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J$2:$J$7</c:f>
              <c:numCache>
                <c:formatCode>General</c:formatCode>
                <c:ptCount val="6"/>
                <c:pt idx="2">
                  <c:v>2.9809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K$2:$K$7</c:f>
              <c:numCache>
                <c:formatCode>General</c:formatCode>
                <c:ptCount val="6"/>
                <c:pt idx="3">
                  <c:v>2.118300000000000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64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L$2:$L$7</c:f>
              <c:numCache>
                <c:formatCode>General</c:formatCode>
                <c:ptCount val="6"/>
                <c:pt idx="1">
                  <c:v>3.822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M$2:$M$7</c:f>
              <c:numCache>
                <c:formatCode>General</c:formatCode>
                <c:ptCount val="6"/>
                <c:pt idx="2">
                  <c:v>3.597100000000000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52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N$2:$N$7</c:f>
              <c:numCache>
                <c:formatCode>General</c:formatCode>
                <c:ptCount val="6"/>
                <c:pt idx="1">
                  <c:v>5.871500000000000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O$2:$O$7</c:f>
              <c:numCache>
                <c:formatCode>General</c:formatCode>
                <c:ptCount val="6"/>
                <c:pt idx="0">
                  <c:v>3.724200000000000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P$2:$P$7</c:f>
              <c:numCache>
                <c:formatCode>General</c:formatCode>
                <c:ptCount val="6"/>
                <c:pt idx="3">
                  <c:v>2.7378999999999998</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Q$2:$Q$7</c:f>
              <c:numCache>
                <c:formatCode>General</c:formatCode>
                <c:ptCount val="6"/>
                <c:pt idx="2">
                  <c:v>4.227000000000000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R$2:$R$7</c:f>
              <c:numCache>
                <c:formatCode>General</c:formatCode>
                <c:ptCount val="6"/>
                <c:pt idx="1">
                  <c:v>6.2496999999999998</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S$2:$S$7</c:f>
              <c:numCache>
                <c:formatCode>General</c:formatCode>
                <c:ptCount val="6"/>
                <c:pt idx="1">
                  <c:v>7.0495999999999999</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T$2:$T$7</c:f>
              <c:numCache>
                <c:formatCode>General</c:formatCode>
                <c:ptCount val="6"/>
                <c:pt idx="0">
                  <c:v>3.9066000000000001</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U$2:$U$7</c:f>
              <c:numCache>
                <c:formatCode>General</c:formatCode>
                <c:ptCount val="6"/>
                <c:pt idx="3">
                  <c:v>3.5234999999999999</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V$2:$V$7</c:f>
              <c:numCache>
                <c:formatCode>General</c:formatCode>
                <c:ptCount val="6"/>
                <c:pt idx="4">
                  <c:v>2.3713000000000002</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29AD73-789B-490B-9F75-31A3025CA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5CC7F6-F31A-4AB9-821B-8D881DC83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F3DF55A-5DBA-4485-ACB9-F746C0EA4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28571B-1AFB-4ED6-924A-199F1DF90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64716A-954F-4C7F-844E-EB9E88C77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E62B80-7D46-4C4A-BDEA-3759201CDE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76A86A-9377-430E-AF58-D9E339C503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8DBD5B0-B4F9-458D-8CCB-951B326955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167999999999999</c:v>
                </c:pt>
                <c:pt idx="1">
                  <c:v>2.3565</c:v>
                </c:pt>
                <c:pt idx="2">
                  <c:v>2.7509000000000001</c:v>
                </c:pt>
                <c:pt idx="3">
                  <c:v>2.9201000000000001</c:v>
                </c:pt>
                <c:pt idx="4">
                  <c:v>3.3361999999999998</c:v>
                </c:pt>
                <c:pt idx="5">
                  <c:v>2.2946</c:v>
                </c:pt>
                <c:pt idx="6">
                  <c:v>3.7511000000000001</c:v>
                </c:pt>
                <c:pt idx="7">
                  <c:v>3.3645999999999998</c:v>
                </c:pt>
                <c:pt idx="8">
                  <c:v>2.5411000000000001</c:v>
                </c:pt>
              </c:numCache>
            </c:numRef>
          </c:xVal>
          <c:yVal>
            <c:numRef>
              <c:f>Sheet1!$B$2:$B$10</c:f>
              <c:numCache>
                <c:formatCode>General</c:formatCode>
                <c:ptCount val="9"/>
                <c:pt idx="0">
                  <c:v>0.82099999999999995</c:v>
                </c:pt>
                <c:pt idx="1">
                  <c:v>0.81699999999999995</c:v>
                </c:pt>
                <c:pt idx="2">
                  <c:v>1.0569999999999999</c:v>
                </c:pt>
                <c:pt idx="3">
                  <c:v>1.1439999999999999</c:v>
                </c:pt>
                <c:pt idx="4">
                  <c:v>1.1879999999999999</c:v>
                </c:pt>
                <c:pt idx="5">
                  <c:v>1.115</c:v>
                </c:pt>
                <c:pt idx="6">
                  <c:v>1.4830000000000001</c:v>
                </c:pt>
                <c:pt idx="7">
                  <c:v>0.93899999999999995</c:v>
                </c:pt>
                <c:pt idx="8">
                  <c:v>0.747</c:v>
                </c:pt>
              </c:numCache>
            </c:numRef>
          </c:yVal>
          <c:bubbleSize>
            <c:numRef>
              <c:f>Sheet1!$C$2:$C$10</c:f>
              <c:numCache>
                <c:formatCode>General</c:formatCode>
                <c:ptCount val="9"/>
                <c:pt idx="0">
                  <c:v>192818189</c:v>
                </c:pt>
                <c:pt idx="1">
                  <c:v>39277810</c:v>
                </c:pt>
                <c:pt idx="2">
                  <c:v>33117229</c:v>
                </c:pt>
                <c:pt idx="3">
                  <c:v>32921870</c:v>
                </c:pt>
                <c:pt idx="4">
                  <c:v>29411346</c:v>
                </c:pt>
                <c:pt idx="5">
                  <c:v>23364293</c:v>
                </c:pt>
                <c:pt idx="6">
                  <c:v>23271110</c:v>
                </c:pt>
                <c:pt idx="7">
                  <c:v>22557022</c:v>
                </c:pt>
                <c:pt idx="8">
                  <c:v>22493816</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Galbani</c:v>
                  </c:pt>
                  <c:pt idx="6">
                    <c:v>Apericube</c:v>
                  </c:pt>
                  <c:pt idx="7">
                    <c:v>La Vache Qui Rit</c:v>
                  </c:pt>
                  <c:pt idx="8">
                    <c:v>Coeur De L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8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2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B$2:$B$7</c:f>
              <c:numCache>
                <c:formatCode>General</c:formatCode>
                <c:ptCount val="6"/>
                <c:pt idx="1">
                  <c:v>2.4224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4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C$2:$C$7</c:f>
              <c:numCache>
                <c:formatCode>General</c:formatCode>
                <c:ptCount val="6"/>
                <c:pt idx="2">
                  <c:v>2.3338999999999999</c:v>
                </c:pt>
                <c:pt idx="3">
                  <c:v>1.8676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8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D$2:$D$7</c:f>
              <c:numCache>
                <c:formatCode>General</c:formatCode>
                <c:ptCount val="6"/>
                <c:pt idx="4">
                  <c:v>3.5434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E$2:$E$7</c:f>
              <c:numCache>
                <c:formatCode>General</c:formatCode>
                <c:ptCount val="6"/>
                <c:pt idx="0">
                  <c:v>2.4007000000000001</c:v>
                </c:pt>
                <c:pt idx="2">
                  <c:v>2.368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F$2:$F$7</c:f>
              <c:numCache>
                <c:formatCode>General</c:formatCode>
                <c:ptCount val="6"/>
                <c:pt idx="1">
                  <c:v>3.8734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92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G$2:$G$7</c:f>
              <c:numCache>
                <c:formatCode>General</c:formatCode>
                <c:ptCount val="6"/>
                <c:pt idx="0">
                  <c:v>2.489799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H$2:$H$7</c:f>
              <c:numCache>
                <c:formatCode>General</c:formatCode>
                <c:ptCount val="6"/>
                <c:pt idx="3">
                  <c:v>1.659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6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I$2:$I$7</c:f>
              <c:numCache>
                <c:formatCode>General</c:formatCode>
                <c:ptCount val="6"/>
                <c:pt idx="2">
                  <c:v>2.95</c:v>
                </c:pt>
                <c:pt idx="3">
                  <c:v>1.879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4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J$2:$J$7</c:f>
              <c:numCache>
                <c:formatCode>General</c:formatCode>
                <c:ptCount val="6"/>
                <c:pt idx="5">
                  <c:v>3.620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64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K$2:$K$7</c:f>
              <c:numCache>
                <c:formatCode>General</c:formatCode>
                <c:ptCount val="6"/>
                <c:pt idx="1">
                  <c:v>4.410499999999999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67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L$2:$L$7</c:f>
              <c:numCache>
                <c:formatCode>General</c:formatCode>
                <c:ptCount val="6"/>
                <c:pt idx="0">
                  <c:v>3.116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M$2:$M$7</c:f>
              <c:numCache>
                <c:formatCode>General</c:formatCode>
                <c:ptCount val="6"/>
                <c:pt idx="0">
                  <c:v>3.9312999999999998</c:v>
                </c:pt>
                <c:pt idx="2">
                  <c:v>3.639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84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N$2:$N$7</c:f>
              <c:numCache>
                <c:formatCode>General</c:formatCode>
                <c:ptCount val="6"/>
                <c:pt idx="0">
                  <c:v>3.949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O$2:$O$7</c:f>
              <c:numCache>
                <c:formatCode>General</c:formatCode>
                <c:ptCount val="6"/>
                <c:pt idx="3">
                  <c:v>2.693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P$2:$P$7</c:f>
              <c:numCache>
                <c:formatCode>General</c:formatCode>
                <c:ptCount val="6"/>
                <c:pt idx="2">
                  <c:v>5.0930999999999997</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Q$2:$Q$7</c:f>
              <c:numCache>
                <c:formatCode>General</c:formatCode>
                <c:ptCount val="6"/>
                <c:pt idx="1">
                  <c:v>6.290499999999999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R$2:$R$7</c:f>
              <c:numCache>
                <c:formatCode>General</c:formatCode>
                <c:ptCount val="6"/>
                <c:pt idx="0">
                  <c:v>4.634000000000000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S$2:$S$7</c:f>
              <c:numCache>
                <c:formatCode>General</c:formatCode>
                <c:ptCount val="6"/>
                <c:pt idx="4">
                  <c:v>2.202300000000000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B$2:$B$9</c:f>
              <c:numCache>
                <c:formatCode>General</c:formatCode>
                <c:ptCount val="8"/>
                <c:pt idx="7">
                  <c:v>1.7085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C$2:$C$9</c:f>
              <c:numCache>
                <c:formatCode>General</c:formatCode>
                <c:ptCount val="8"/>
                <c:pt idx="0">
                  <c:v>2.3321999999999998</c:v>
                </c:pt>
                <c:pt idx="1">
                  <c:v>1.2223999999999999</c:v>
                </c:pt>
                <c:pt idx="2">
                  <c:v>1.8638999999999999</c:v>
                </c:pt>
                <c:pt idx="3">
                  <c:v>1.9804999999999999</c:v>
                </c:pt>
                <c:pt idx="4">
                  <c:v>2.1526000000000001</c:v>
                </c:pt>
                <c:pt idx="6">
                  <c:v>2.0384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D$2:$D$9</c:f>
              <c:numCache>
                <c:formatCode>General</c:formatCode>
                <c:ptCount val="8"/>
                <c:pt idx="3">
                  <c:v>2.0179999999999998</c:v>
                </c:pt>
                <c:pt idx="4">
                  <c:v>2.4359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E$2:$E$9</c:f>
              <c:numCache>
                <c:formatCode>General</c:formatCode>
                <c:ptCount val="8"/>
                <c:pt idx="0">
                  <c:v>2.3018000000000001</c:v>
                </c:pt>
                <c:pt idx="2">
                  <c:v>2.20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F$2:$F$9</c:f>
              <c:numCache>
                <c:formatCode>General</c:formatCode>
                <c:ptCount val="8"/>
                <c:pt idx="5">
                  <c:v>2.4401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G$2:$G$9</c:f>
              <c:numCache>
                <c:formatCode>General</c:formatCode>
                <c:ptCount val="8"/>
                <c:pt idx="1">
                  <c:v>2.1562999999999999</c:v>
                </c:pt>
                <c:pt idx="3">
                  <c:v>2.7464</c:v>
                </c:pt>
                <c:pt idx="4">
                  <c:v>3.2924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H$2:$H$9</c:f>
              <c:numCache>
                <c:formatCode>General</c:formatCode>
                <c:ptCount val="8"/>
                <c:pt idx="2">
                  <c:v>3.0575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I$2:$I$9</c:f>
              <c:numCache>
                <c:formatCode>General</c:formatCode>
                <c:ptCount val="8"/>
                <c:pt idx="0">
                  <c:v>3.5305</c:v>
                </c:pt>
                <c:pt idx="1">
                  <c:v>1.8754</c:v>
                </c:pt>
                <c:pt idx="6">
                  <c:v>3.260400000000000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J$2:$J$9</c:f>
              <c:numCache>
                <c:formatCode>General</c:formatCode>
                <c:ptCount val="8"/>
                <c:pt idx="2">
                  <c:v>3.359100000000000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K$2:$K$9</c:f>
              <c:numCache>
                <c:formatCode>General</c:formatCode>
                <c:ptCount val="8"/>
                <c:pt idx="0">
                  <c:v>4.577499999999999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L$2:$L$9</c:f>
              <c:numCache>
                <c:formatCode>General</c:formatCode>
                <c:ptCount val="8"/>
                <c:pt idx="2">
                  <c:v>4.573000000000000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M$2:$M$9</c:f>
              <c:numCache>
                <c:formatCode>General</c:formatCode>
                <c:ptCount val="8"/>
                <c:pt idx="0">
                  <c:v>5.23</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B$2:$B$8</c:f>
              <c:numCache>
                <c:formatCode>General</c:formatCode>
                <c:ptCount val="7"/>
                <c:pt idx="0">
                  <c:v>2.5021</c:v>
                </c:pt>
                <c:pt idx="1">
                  <c:v>1.4434</c:v>
                </c:pt>
                <c:pt idx="2">
                  <c:v>1.974</c:v>
                </c:pt>
                <c:pt idx="3">
                  <c:v>2.1177000000000001</c:v>
                </c:pt>
                <c:pt idx="4">
                  <c:v>2.2631000000000001</c:v>
                </c:pt>
                <c:pt idx="6">
                  <c:v>2.1848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6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C$2:$C$8</c:f>
              <c:numCache>
                <c:formatCode>General</c:formatCode>
                <c:ptCount val="7"/>
                <c:pt idx="3">
                  <c:v>2.0998000000000001</c:v>
                </c:pt>
                <c:pt idx="4">
                  <c:v>2.57390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D$2:$D$8</c:f>
              <c:numCache>
                <c:formatCode>General</c:formatCode>
                <c:ptCount val="7"/>
                <c:pt idx="0">
                  <c:v>2.4893000000000001</c:v>
                </c:pt>
                <c:pt idx="2">
                  <c:v>2.2854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E$2:$E$8</c:f>
              <c:numCache>
                <c:formatCode>General</c:formatCode>
                <c:ptCount val="7"/>
                <c:pt idx="5">
                  <c:v>2.4552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25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F$2:$F$8</c:f>
              <c:numCache>
                <c:formatCode>General</c:formatCode>
                <c:ptCount val="7"/>
                <c:pt idx="0">
                  <c:v>3.2366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G$2:$G$8</c:f>
              <c:numCache>
                <c:formatCode>General</c:formatCode>
                <c:ptCount val="7"/>
                <c:pt idx="1">
                  <c:v>2.1473</c:v>
                </c:pt>
                <c:pt idx="3">
                  <c:v>2.9064000000000001</c:v>
                </c:pt>
                <c:pt idx="4">
                  <c:v>3.4199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H$2:$H$8</c:f>
              <c:numCache>
                <c:formatCode>General</c:formatCode>
                <c:ptCount val="7"/>
                <c:pt idx="0">
                  <c:v>3.6497000000000002</c:v>
                </c:pt>
                <c:pt idx="1">
                  <c:v>1.9736</c:v>
                </c:pt>
                <c:pt idx="6">
                  <c:v>3.3984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2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I$2:$I$8</c:f>
              <c:numCache>
                <c:formatCode>General</c:formatCode>
                <c:ptCount val="7"/>
                <c:pt idx="2">
                  <c:v>3.346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J$2:$J$8</c:f>
              <c:numCache>
                <c:formatCode>General</c:formatCode>
                <c:ptCount val="7"/>
                <c:pt idx="0">
                  <c:v>4.661400000000000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6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K$2:$K$8</c:f>
              <c:numCache>
                <c:formatCode>General</c:formatCode>
                <c:ptCount val="7"/>
                <c:pt idx="2">
                  <c:v>4.728500000000000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Tartare</c:v>
                </c:pt>
                <c:pt idx="4">
                  <c:v>Boursin</c:v>
                </c:pt>
                <c:pt idx="5">
                  <c:v>Carre Frais</c:v>
                </c:pt>
                <c:pt idx="6">
                  <c:v>Philadelphia</c:v>
                </c:pt>
              </c:strCache>
            </c:strRef>
          </c:cat>
          <c:val>
            <c:numRef>
              <c:f>Sheet1!$L$2:$L$8</c:f>
              <c:numCache>
                <c:formatCode>General</c:formatCode>
                <c:ptCount val="7"/>
                <c:pt idx="0">
                  <c:v>5.0990000000000002</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B$2:$B$8</c:f>
              <c:numCache>
                <c:formatCode>General</c:formatCode>
                <c:ptCount val="7"/>
                <c:pt idx="2">
                  <c:v>2.2608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C$2:$C$8</c:f>
              <c:numCache>
                <c:formatCode>General</c:formatCode>
                <c:ptCount val="7"/>
                <c:pt idx="0">
                  <c:v>2.2576999999999998</c:v>
                </c:pt>
                <c:pt idx="1">
                  <c:v>1.2655000000000001</c:v>
                </c:pt>
                <c:pt idx="2">
                  <c:v>2.2536</c:v>
                </c:pt>
                <c:pt idx="3">
                  <c:v>1.8654999999999999</c:v>
                </c:pt>
                <c:pt idx="4">
                  <c:v>2.0594999999999999</c:v>
                </c:pt>
                <c:pt idx="6">
                  <c:v>1.8594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D$2:$D$8</c:f>
              <c:numCache>
                <c:formatCode>General</c:formatCode>
                <c:ptCount val="7"/>
                <c:pt idx="2">
                  <c:v>2.4615</c:v>
                </c:pt>
                <c:pt idx="4">
                  <c:v>2.08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E$2:$E$8</c:f>
              <c:numCache>
                <c:formatCode>General</c:formatCode>
                <c:ptCount val="7"/>
                <c:pt idx="0">
                  <c:v>2.3105000000000002</c:v>
                </c:pt>
                <c:pt idx="3">
                  <c:v>2.16990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F$2:$F$8</c:f>
              <c:numCache>
                <c:formatCode>General</c:formatCode>
                <c:ptCount val="7"/>
                <c:pt idx="5">
                  <c:v>2.4967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G$2:$G$8</c:f>
              <c:numCache>
                <c:formatCode>General</c:formatCode>
                <c:ptCount val="7"/>
                <c:pt idx="1">
                  <c:v>2.1457999999999999</c:v>
                </c:pt>
                <c:pt idx="2">
                  <c:v>3.2565</c:v>
                </c:pt>
                <c:pt idx="4">
                  <c:v>2.832199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H$2:$H$8</c:f>
              <c:numCache>
                <c:formatCode>General</c:formatCode>
                <c:ptCount val="7"/>
                <c:pt idx="3">
                  <c:v>3.07290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I$2:$I$8</c:f>
              <c:numCache>
                <c:formatCode>General</c:formatCode>
                <c:ptCount val="7"/>
                <c:pt idx="0">
                  <c:v>3.6261999999999999</c:v>
                </c:pt>
                <c:pt idx="1">
                  <c:v>1.9140999999999999</c:v>
                </c:pt>
                <c:pt idx="6">
                  <c:v>3.1991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J$2:$J$8</c:f>
              <c:numCache>
                <c:formatCode>General</c:formatCode>
                <c:ptCount val="7"/>
                <c:pt idx="3">
                  <c:v>3.3521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K$2:$K$8</c:f>
              <c:numCache>
                <c:formatCode>General</c:formatCode>
                <c:ptCount val="7"/>
                <c:pt idx="0">
                  <c:v>4.558200000000000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96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Boursin</c:v>
                </c:pt>
                <c:pt idx="3">
                  <c:v>Paysan Breton</c:v>
                </c:pt>
                <c:pt idx="4">
                  <c:v>Tartare</c:v>
                </c:pt>
                <c:pt idx="5">
                  <c:v>Carre Frais</c:v>
                </c:pt>
                <c:pt idx="6">
                  <c:v>Philadelphia</c:v>
                </c:pt>
              </c:strCache>
            </c:strRef>
          </c:cat>
          <c:val>
            <c:numRef>
              <c:f>Sheet1!$L$2:$L$8</c:f>
              <c:numCache>
                <c:formatCode>General</c:formatCode>
                <c:ptCount val="7"/>
                <c:pt idx="2">
                  <c:v>1.74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B$2:$B$8</c:f>
              <c:numCache>
                <c:formatCode>General</c:formatCode>
                <c:ptCount val="7"/>
                <c:pt idx="0">
                  <c:v>2.4628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C$2:$C$8</c:f>
              <c:numCache>
                <c:formatCode>General</c:formatCode>
                <c:ptCount val="7"/>
                <c:pt idx="0">
                  <c:v>2.1486999999999998</c:v>
                </c:pt>
                <c:pt idx="2">
                  <c:v>2.6354000000000002</c:v>
                </c:pt>
                <c:pt idx="6">
                  <c:v>2.24540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D$2:$D$8</c:f>
              <c:numCache>
                <c:formatCode>General</c:formatCode>
                <c:ptCount val="7"/>
                <c:pt idx="0">
                  <c:v>1.3109</c:v>
                </c:pt>
                <c:pt idx="1">
                  <c:v>1.5152000000000001</c:v>
                </c:pt>
                <c:pt idx="2">
                  <c:v>2.3483999999999998</c:v>
                </c:pt>
                <c:pt idx="3">
                  <c:v>1.6423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E$2:$E$8</c:f>
              <c:numCache>
                <c:formatCode>General</c:formatCode>
                <c:ptCount val="7"/>
                <c:pt idx="0">
                  <c:v>2.1614</c:v>
                </c:pt>
                <c:pt idx="1">
                  <c:v>2.9659</c:v>
                </c:pt>
                <c:pt idx="3">
                  <c:v>2.5783</c:v>
                </c:pt>
                <c:pt idx="5">
                  <c:v>2.79640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F$2:$F$8</c:f>
              <c:numCache>
                <c:formatCode>General</c:formatCode>
                <c:ptCount val="7"/>
                <c:pt idx="0">
                  <c:v>2.9594999999999998</c:v>
                </c:pt>
                <c:pt idx="2">
                  <c:v>3.6528</c:v>
                </c:pt>
                <c:pt idx="3">
                  <c:v>4.4829999999999997</c:v>
                </c:pt>
                <c:pt idx="4">
                  <c:v>2.8361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G$2:$G$8</c:f>
              <c:numCache>
                <c:formatCode>General</c:formatCode>
                <c:ptCount val="7"/>
                <c:pt idx="0">
                  <c:v>2.2301000000000002</c:v>
                </c:pt>
                <c:pt idx="1">
                  <c:v>2.5897000000000001</c:v>
                </c:pt>
                <c:pt idx="2">
                  <c:v>4.619500000000000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H$2:$H$8</c:f>
              <c:numCache>
                <c:formatCode>General</c:formatCode>
                <c:ptCount val="7"/>
                <c:pt idx="4">
                  <c:v>3.31490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I$2:$I$8</c:f>
              <c:numCache>
                <c:formatCode>General</c:formatCode>
                <c:ptCount val="7"/>
                <c:pt idx="0">
                  <c:v>2.7160000000000002</c:v>
                </c:pt>
                <c:pt idx="1">
                  <c:v>3.586800000000000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J$2:$J$8</c:f>
              <c:numCache>
                <c:formatCode>General</c:formatCode>
                <c:ptCount val="7"/>
                <c:pt idx="0">
                  <c:v>2.9542999999999999</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B$2:$B$8</c:f>
              <c:numCache>
                <c:formatCode>General</c:formatCode>
                <c:ptCount val="7"/>
                <c:pt idx="0">
                  <c:v>1.9787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C$2:$C$8</c:f>
              <c:numCache>
                <c:formatCode>General</c:formatCode>
                <c:ptCount val="7"/>
                <c:pt idx="0">
                  <c:v>2.2079</c:v>
                </c:pt>
                <c:pt idx="1">
                  <c:v>2.5787</c:v>
                </c:pt>
                <c:pt idx="6">
                  <c:v>2.2364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D$2:$D$8</c:f>
              <c:numCache>
                <c:formatCode>General</c:formatCode>
                <c:ptCount val="7"/>
                <c:pt idx="0">
                  <c:v>1.3940999999999999</c:v>
                </c:pt>
                <c:pt idx="1">
                  <c:v>2.5105</c:v>
                </c:pt>
                <c:pt idx="2">
                  <c:v>1.5953999999999999</c:v>
                </c:pt>
                <c:pt idx="3">
                  <c:v>1.7573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E$2:$E$8</c:f>
              <c:numCache>
                <c:formatCode>General</c:formatCode>
                <c:ptCount val="7"/>
                <c:pt idx="0">
                  <c:v>2.2494999999999998</c:v>
                </c:pt>
                <c:pt idx="1">
                  <c:v>2.8174999999999999</c:v>
                </c:pt>
                <c:pt idx="2">
                  <c:v>2.6676000000000002</c:v>
                </c:pt>
                <c:pt idx="3">
                  <c:v>2.7401</c:v>
                </c:pt>
                <c:pt idx="5">
                  <c:v>2.7654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F$2:$F$8</c:f>
              <c:numCache>
                <c:formatCode>General</c:formatCode>
                <c:ptCount val="7"/>
                <c:pt idx="0">
                  <c:v>3.0125000000000002</c:v>
                </c:pt>
                <c:pt idx="1">
                  <c:v>3.6293000000000002</c:v>
                </c:pt>
                <c:pt idx="3">
                  <c:v>4.1787999999999998</c:v>
                </c:pt>
                <c:pt idx="4">
                  <c:v>2.9666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G$2:$G$8</c:f>
              <c:numCache>
                <c:formatCode>General</c:formatCode>
                <c:ptCount val="7"/>
                <c:pt idx="0">
                  <c:v>2.2553999999999998</c:v>
                </c:pt>
                <c:pt idx="1">
                  <c:v>4.6925999999999997</c:v>
                </c:pt>
                <c:pt idx="2">
                  <c:v>2.7865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H$2:$H$8</c:f>
              <c:numCache>
                <c:formatCode>General</c:formatCode>
                <c:ptCount val="7"/>
                <c:pt idx="4">
                  <c:v>3.278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I$2:$I$8</c:f>
              <c:numCache>
                <c:formatCode>General</c:formatCode>
                <c:ptCount val="7"/>
                <c:pt idx="0">
                  <c:v>2.7353999999999998</c:v>
                </c:pt>
                <c:pt idx="2">
                  <c:v>3.75579999999999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J$2:$J$8</c:f>
              <c:numCache>
                <c:formatCode>General</c:formatCode>
                <c:ptCount val="7"/>
                <c:pt idx="0">
                  <c:v>3.0091000000000001</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B$2:$B$8</c:f>
              <c:numCache>
                <c:formatCode>General</c:formatCode>
                <c:ptCount val="7"/>
                <c:pt idx="0">
                  <c:v>1.7848999999999999</c:v>
                </c:pt>
                <c:pt idx="6">
                  <c:v>2.3374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C$2:$C$8</c:f>
              <c:numCache>
                <c:formatCode>General</c:formatCode>
                <c:ptCount val="7"/>
                <c:pt idx="0">
                  <c:v>1.2884</c:v>
                </c:pt>
                <c:pt idx="1">
                  <c:v>1.5113000000000001</c:v>
                </c:pt>
                <c:pt idx="3">
                  <c:v>1.7226999999999999</c:v>
                </c:pt>
                <c:pt idx="4">
                  <c:v>2.8246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D$2:$D$8</c:f>
              <c:numCache>
                <c:formatCode>General</c:formatCode>
                <c:ptCount val="7"/>
                <c:pt idx="0">
                  <c:v>2.2326999999999999</c:v>
                </c:pt>
                <c:pt idx="1">
                  <c:v>3.0937999999999999</c:v>
                </c:pt>
                <c:pt idx="2">
                  <c:v>2.8412000000000002</c:v>
                </c:pt>
                <c:pt idx="4">
                  <c:v>3.4470000000000001</c:v>
                </c:pt>
                <c:pt idx="5">
                  <c:v>2.8961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E$2:$E$8</c:f>
              <c:numCache>
                <c:formatCode>General</c:formatCode>
                <c:ptCount val="7"/>
                <c:pt idx="0">
                  <c:v>3.1911</c:v>
                </c:pt>
                <c:pt idx="2">
                  <c:v>2.7414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F$2:$F$8</c:f>
              <c:numCache>
                <c:formatCode>General</c:formatCode>
                <c:ptCount val="7"/>
                <c:pt idx="0">
                  <c:v>1.7465999999999999</c:v>
                </c:pt>
                <c:pt idx="1">
                  <c:v>2.5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G$2:$G$8</c:f>
              <c:numCache>
                <c:formatCode>General</c:formatCode>
                <c:ptCount val="7"/>
                <c:pt idx="0">
                  <c:v>2.1259000000000001</c:v>
                </c:pt>
                <c:pt idx="2">
                  <c:v>3.3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H$2:$H$8</c:f>
              <c:numCache>
                <c:formatCode>General</c:formatCode>
                <c:ptCount val="7"/>
                <c:pt idx="1">
                  <c:v>3.4845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I$2:$I$8</c:f>
              <c:numCache>
                <c:formatCode>General</c:formatCode>
                <c:ptCount val="7"/>
                <c:pt idx="0">
                  <c:v>2.9628999999999999</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356D1D-D587-4929-A919-B46FD278E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A1377F-FDBC-4FBF-AFAF-7F09D176F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A0AED0A-0C82-4BB2-A002-7290AD725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70BF29-3973-4543-BCFB-6D8315602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4D9DB0-D2AE-4EC7-80CC-B9D1E5394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77E244C-7A15-4478-A723-8192E659E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8AE9CBA-F56C-4642-8853-777742EB8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00E877-8405-462F-94F9-D8F5B8F6D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387</c:v>
                </c:pt>
                <c:pt idx="1">
                  <c:v>2.2827999999999999</c:v>
                </c:pt>
                <c:pt idx="2">
                  <c:v>2.7042000000000002</c:v>
                </c:pt>
                <c:pt idx="3">
                  <c:v>2.9156</c:v>
                </c:pt>
                <c:pt idx="4">
                  <c:v>3.2122000000000002</c:v>
                </c:pt>
                <c:pt idx="5">
                  <c:v>2.4706999999999999</c:v>
                </c:pt>
                <c:pt idx="6">
                  <c:v>3.2845</c:v>
                </c:pt>
                <c:pt idx="7">
                  <c:v>3.4908000000000001</c:v>
                </c:pt>
                <c:pt idx="8">
                  <c:v>2.2103999999999999</c:v>
                </c:pt>
              </c:numCache>
            </c:numRef>
          </c:xVal>
          <c:yVal>
            <c:numRef>
              <c:f>Sheet1!$B$2:$B$10</c:f>
              <c:numCache>
                <c:formatCode>General</c:formatCode>
                <c:ptCount val="9"/>
                <c:pt idx="0">
                  <c:v>0.85499999999999998</c:v>
                </c:pt>
                <c:pt idx="1">
                  <c:v>0.82199999999999995</c:v>
                </c:pt>
                <c:pt idx="2">
                  <c:v>1.0820000000000001</c:v>
                </c:pt>
                <c:pt idx="3">
                  <c:v>1.1399999999999999</c:v>
                </c:pt>
                <c:pt idx="4">
                  <c:v>1.1879999999999999</c:v>
                </c:pt>
                <c:pt idx="5">
                  <c:v>0.73199999999999998</c:v>
                </c:pt>
                <c:pt idx="6">
                  <c:v>0.92500000000000004</c:v>
                </c:pt>
                <c:pt idx="7">
                  <c:v>1.488</c:v>
                </c:pt>
                <c:pt idx="8">
                  <c:v>1.1220000000000001</c:v>
                </c:pt>
              </c:numCache>
            </c:numRef>
          </c:yVal>
          <c:bubbleSize>
            <c:numRef>
              <c:f>Sheet1!$C$2:$C$10</c:f>
              <c:numCache>
                <c:formatCode>General</c:formatCode>
                <c:ptCount val="9"/>
                <c:pt idx="0">
                  <c:v>1760863092</c:v>
                </c:pt>
                <c:pt idx="1">
                  <c:v>230947562</c:v>
                </c:pt>
                <c:pt idx="2">
                  <c:v>200738299</c:v>
                </c:pt>
                <c:pt idx="3">
                  <c:v>188621011</c:v>
                </c:pt>
                <c:pt idx="4">
                  <c:v>187705593</c:v>
                </c:pt>
                <c:pt idx="5">
                  <c:v>146085508</c:v>
                </c:pt>
                <c:pt idx="6">
                  <c:v>143118988</c:v>
                </c:pt>
                <c:pt idx="7">
                  <c:v>133719924</c:v>
                </c:pt>
                <c:pt idx="8">
                  <c:v>128025208</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Coeur De Lion</c:v>
                  </c:pt>
                  <c:pt idx="6">
                    <c:v>La Vache Qui Rit</c:v>
                  </c:pt>
                  <c:pt idx="7">
                    <c:v>Mini Babybel</c:v>
                  </c:pt>
                  <c:pt idx="8">
                    <c:v>Galban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8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F92498-8ADB-4D7E-9497-F0C960DC8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80A62D-DE48-44B8-8FFF-964C2F239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FA280C-5225-4895-BA2B-78BCF4A0B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75679A-9682-4932-A7FE-B60E794CA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D9F1FB-F3A9-4B94-96DE-DF9068482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B4E32F-8283-4583-8815-B1BB52BB47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35B3F4E-EEC8-4F3F-BABA-50EA08F5C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761383B-9BF2-49D5-A0B2-8D53C7927C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1959</c:v>
                </c:pt>
                <c:pt idx="1">
                  <c:v>2.3527999999999998</c:v>
                </c:pt>
                <c:pt idx="2">
                  <c:v>2.8315000000000001</c:v>
                </c:pt>
                <c:pt idx="3">
                  <c:v>3.2755999999999998</c:v>
                </c:pt>
                <c:pt idx="4">
                  <c:v>3.0144000000000002</c:v>
                </c:pt>
                <c:pt idx="5">
                  <c:v>3.2692000000000001</c:v>
                </c:pt>
                <c:pt idx="6">
                  <c:v>2.4649000000000001</c:v>
                </c:pt>
                <c:pt idx="7">
                  <c:v>2.9653</c:v>
                </c:pt>
                <c:pt idx="8">
                  <c:v>3.4565000000000001</c:v>
                </c:pt>
              </c:numCache>
            </c:numRef>
          </c:xVal>
          <c:yVal>
            <c:numRef>
              <c:f>Sheet1!$B$2:$B$10</c:f>
              <c:numCache>
                <c:formatCode>General</c:formatCode>
                <c:ptCount val="9"/>
                <c:pt idx="0">
                  <c:v>0.88500000000000001</c:v>
                </c:pt>
                <c:pt idx="1">
                  <c:v>0.77700000000000002</c:v>
                </c:pt>
                <c:pt idx="2">
                  <c:v>1.0529999999999999</c:v>
                </c:pt>
                <c:pt idx="3">
                  <c:v>1.1479999999999999</c:v>
                </c:pt>
                <c:pt idx="4">
                  <c:v>1.137</c:v>
                </c:pt>
                <c:pt idx="5">
                  <c:v>0.80200000000000005</c:v>
                </c:pt>
                <c:pt idx="6">
                  <c:v>0.69399999999999995</c:v>
                </c:pt>
                <c:pt idx="7">
                  <c:v>1.04</c:v>
                </c:pt>
                <c:pt idx="8">
                  <c:v>1.341</c:v>
                </c:pt>
              </c:numCache>
            </c:numRef>
          </c:yVal>
          <c:bubbleSize>
            <c:numRef>
              <c:f>Sheet1!$C$2:$C$10</c:f>
              <c:numCache>
                <c:formatCode>General</c:formatCode>
                <c:ptCount val="9"/>
                <c:pt idx="0">
                  <c:v>263392264</c:v>
                </c:pt>
                <c:pt idx="1">
                  <c:v>39509333</c:v>
                </c:pt>
                <c:pt idx="2">
                  <c:v>34407631</c:v>
                </c:pt>
                <c:pt idx="3">
                  <c:v>32529804</c:v>
                </c:pt>
                <c:pt idx="4">
                  <c:v>30956719</c:v>
                </c:pt>
                <c:pt idx="5">
                  <c:v>30468388</c:v>
                </c:pt>
                <c:pt idx="6">
                  <c:v>25638814</c:v>
                </c:pt>
                <c:pt idx="7">
                  <c:v>22816387</c:v>
                </c:pt>
                <c:pt idx="8">
                  <c:v>22613796</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Coeur De Lion</c:v>
                  </c:pt>
                  <c:pt idx="7">
                    <c:v>Kiri</c:v>
                  </c:pt>
                  <c:pt idx="8">
                    <c:v>Mini Baby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5DD0E61-86CA-4B9C-B169-0F8CDDE8C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08362C8-CEC4-448F-8AD2-C8D3D90D7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394BC2C-2193-46E0-9B32-21E0ED453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F8D757-236F-4C82-915A-C2D864B10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8B02E6-9BA8-420A-8DA6-F719EA6FCC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4B7EBE-E6C6-4D9C-ACDF-E7DBBA63AE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9F1F29F-0EC4-49F1-9CF5-01813F1C3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88E8AB5-415D-4369-A6BC-C6C01D577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106999999999999</c:v>
                </c:pt>
                <c:pt idx="1">
                  <c:v>2.3565</c:v>
                </c:pt>
                <c:pt idx="2">
                  <c:v>2.7509000000000001</c:v>
                </c:pt>
                <c:pt idx="3">
                  <c:v>2.9500999999999999</c:v>
                </c:pt>
                <c:pt idx="4">
                  <c:v>3.3361999999999998</c:v>
                </c:pt>
                <c:pt idx="5">
                  <c:v>2.2946</c:v>
                </c:pt>
                <c:pt idx="6">
                  <c:v>3.3645999999999998</c:v>
                </c:pt>
                <c:pt idx="7">
                  <c:v>2.5411000000000001</c:v>
                </c:pt>
                <c:pt idx="8">
                  <c:v>3.5409000000000002</c:v>
                </c:pt>
              </c:numCache>
            </c:numRef>
          </c:xVal>
          <c:yVal>
            <c:numRef>
              <c:f>Sheet1!$B$2:$B$10</c:f>
              <c:numCache>
                <c:formatCode>General</c:formatCode>
                <c:ptCount val="9"/>
                <c:pt idx="0">
                  <c:v>0.83699999999999997</c:v>
                </c:pt>
                <c:pt idx="1">
                  <c:v>0.83899999999999997</c:v>
                </c:pt>
                <c:pt idx="2">
                  <c:v>1.0860000000000001</c:v>
                </c:pt>
                <c:pt idx="3">
                  <c:v>1.1259999999999999</c:v>
                </c:pt>
                <c:pt idx="4">
                  <c:v>1.2210000000000001</c:v>
                </c:pt>
                <c:pt idx="5">
                  <c:v>1.145</c:v>
                </c:pt>
                <c:pt idx="6">
                  <c:v>0.96499999999999997</c:v>
                </c:pt>
                <c:pt idx="7">
                  <c:v>0.76800000000000002</c:v>
                </c:pt>
                <c:pt idx="8">
                  <c:v>1.5249999999999999</c:v>
                </c:pt>
              </c:numCache>
            </c:numRef>
          </c:yVal>
          <c:bubbleSize>
            <c:numRef>
              <c:f>Sheet1!$C$2:$C$10</c:f>
              <c:numCache>
                <c:formatCode>General</c:formatCode>
                <c:ptCount val="9"/>
                <c:pt idx="0">
                  <c:v>189926117</c:v>
                </c:pt>
                <c:pt idx="1">
                  <c:v>39277810</c:v>
                </c:pt>
                <c:pt idx="2">
                  <c:v>33117229</c:v>
                </c:pt>
                <c:pt idx="3">
                  <c:v>30253337</c:v>
                </c:pt>
                <c:pt idx="4">
                  <c:v>29411346</c:v>
                </c:pt>
                <c:pt idx="5">
                  <c:v>23364293</c:v>
                </c:pt>
                <c:pt idx="6">
                  <c:v>22557022</c:v>
                </c:pt>
                <c:pt idx="7">
                  <c:v>22493816</c:v>
                </c:pt>
                <c:pt idx="8">
                  <c:v>19313906</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Galbani</c:v>
                  </c:pt>
                  <c:pt idx="6">
                    <c:v>La Vache Qui Rit</c:v>
                  </c:pt>
                  <c:pt idx="7">
                    <c:v>Coeur De Lion</c:v>
                  </c:pt>
                  <c:pt idx="8">
                    <c:v>Mini Baby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2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3EF050-A6EC-4185-BE2E-C398B682A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DF61B0-B629-452D-B615-31815FE92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EF887F-87FD-4EA4-A3D4-ED5C0EF44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EB80BA-B612-4D3A-A424-88D58CFDB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9433DA9-3F84-4AC4-A290-46DC86200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A77A7D-1887-457B-BAA0-665285C43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0AD101B-7FC1-4764-9338-B4E38C820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ED272B4-A480-485C-B481-518B68B10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6396999999999999</c:v>
                </c:pt>
                <c:pt idx="1">
                  <c:v>2.0247000000000002</c:v>
                </c:pt>
                <c:pt idx="2">
                  <c:v>3.3784000000000001</c:v>
                </c:pt>
                <c:pt idx="3">
                  <c:v>2.8138999999999998</c:v>
                </c:pt>
                <c:pt idx="4">
                  <c:v>2.6101999999999999</c:v>
                </c:pt>
                <c:pt idx="5">
                  <c:v>5.2855999999999996</c:v>
                </c:pt>
              </c:numCache>
            </c:numRef>
          </c:xVal>
          <c:yVal>
            <c:numRef>
              <c:f>Sheet1!$B$2:$B$7</c:f>
              <c:numCache>
                <c:formatCode>General</c:formatCode>
                <c:ptCount val="6"/>
                <c:pt idx="0">
                  <c:v>0.873</c:v>
                </c:pt>
                <c:pt idx="1">
                  <c:v>1.04</c:v>
                </c:pt>
                <c:pt idx="2">
                  <c:v>1.736</c:v>
                </c:pt>
                <c:pt idx="3">
                  <c:v>1.34</c:v>
                </c:pt>
                <c:pt idx="4">
                  <c:v>1.341</c:v>
                </c:pt>
                <c:pt idx="5">
                  <c:v>1.528</c:v>
                </c:pt>
              </c:numCache>
            </c:numRef>
          </c:yVal>
          <c:bubbleSize>
            <c:numRef>
              <c:f>Sheet1!$C$2:$C$7</c:f>
              <c:numCache>
                <c:formatCode>General</c:formatCode>
                <c:ptCount val="6"/>
                <c:pt idx="0">
                  <c:v>127145345</c:v>
                </c:pt>
                <c:pt idx="1">
                  <c:v>30565706</c:v>
                </c:pt>
                <c:pt idx="2">
                  <c:v>18356742</c:v>
                </c:pt>
                <c:pt idx="3">
                  <c:v>14160014</c:v>
                </c:pt>
                <c:pt idx="4">
                  <c:v>10194513</c:v>
                </c:pt>
                <c:pt idx="5">
                  <c:v>215675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5422225-431F-4208-884B-C26AD6198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DBEAA7-0DE5-453E-B64E-13AC7C967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4739C85-4C99-46FC-819D-091CB6E49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EA3EAB9-6653-4958-A249-454D2BC67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591CE7-6E0C-4325-B663-1950EB714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04893CE-72C2-4BD0-8C35-392C3F70D4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CAD3710-26B9-4D21-A858-7B9039287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3044575-0906-4EC3-8251-66B5A0275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854999999999999</c:v>
                </c:pt>
                <c:pt idx="1">
                  <c:v>2.1145</c:v>
                </c:pt>
                <c:pt idx="2">
                  <c:v>3.4693000000000001</c:v>
                </c:pt>
                <c:pt idx="3">
                  <c:v>3.0528</c:v>
                </c:pt>
                <c:pt idx="4">
                  <c:v>2.6516999999999999</c:v>
                </c:pt>
                <c:pt idx="5">
                  <c:v>5.1757</c:v>
                </c:pt>
              </c:numCache>
            </c:numRef>
          </c:xVal>
          <c:yVal>
            <c:numRef>
              <c:f>Sheet1!$B$2:$B$7</c:f>
              <c:numCache>
                <c:formatCode>General</c:formatCode>
                <c:ptCount val="6"/>
                <c:pt idx="0">
                  <c:v>0.876</c:v>
                </c:pt>
                <c:pt idx="1">
                  <c:v>1.0249999999999999</c:v>
                </c:pt>
                <c:pt idx="2">
                  <c:v>1.6819999999999999</c:v>
                </c:pt>
                <c:pt idx="3">
                  <c:v>1.4810000000000001</c:v>
                </c:pt>
                <c:pt idx="4">
                  <c:v>1.2889999999999999</c:v>
                </c:pt>
                <c:pt idx="5">
                  <c:v>1.597</c:v>
                </c:pt>
              </c:numCache>
            </c:numRef>
          </c:yVal>
          <c:bubbleSize>
            <c:numRef>
              <c:f>Sheet1!$C$2:$C$7</c:f>
              <c:numCache>
                <c:formatCode>General</c:formatCode>
                <c:ptCount val="6"/>
                <c:pt idx="0">
                  <c:v>23637907</c:v>
                </c:pt>
                <c:pt idx="1">
                  <c:v>5715349</c:v>
                </c:pt>
                <c:pt idx="2">
                  <c:v>3679581</c:v>
                </c:pt>
                <c:pt idx="3">
                  <c:v>2136150</c:v>
                </c:pt>
                <c:pt idx="4">
                  <c:v>1221414</c:v>
                </c:pt>
                <c:pt idx="5">
                  <c:v>535470</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133E55-8357-4ABE-B81E-C743F078D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8369AB-D64B-41B5-9B97-FFE93A733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5BC997-2E84-4912-BF70-B70B48056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E0E156-01D6-4ED5-8DE5-FB8C4FA1F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F0A640-7F7D-4F5F-ABD1-9E53F665B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6FCFD7-E534-4906-94B4-54D51C711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8CDA143-EFCB-405E-8E1F-A4EE6CF53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2BBF19A-0F2B-451F-B599-9BF69FADD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511000000000001</c:v>
                </c:pt>
                <c:pt idx="1">
                  <c:v>2.1533000000000002</c:v>
                </c:pt>
                <c:pt idx="2">
                  <c:v>3.3626999999999998</c:v>
                </c:pt>
                <c:pt idx="3">
                  <c:v>2.6185</c:v>
                </c:pt>
                <c:pt idx="4">
                  <c:v>2.5989</c:v>
                </c:pt>
                <c:pt idx="5">
                  <c:v>2.8252000000000002</c:v>
                </c:pt>
              </c:numCache>
            </c:numRef>
          </c:xVal>
          <c:yVal>
            <c:numRef>
              <c:f>Sheet1!$B$2:$B$7</c:f>
              <c:numCache>
                <c:formatCode>General</c:formatCode>
                <c:ptCount val="6"/>
                <c:pt idx="0">
                  <c:v>0.88700000000000001</c:v>
                </c:pt>
                <c:pt idx="1">
                  <c:v>1.1140000000000001</c:v>
                </c:pt>
                <c:pt idx="2">
                  <c:v>1.74</c:v>
                </c:pt>
                <c:pt idx="3">
                  <c:v>1.3560000000000001</c:v>
                </c:pt>
                <c:pt idx="4">
                  <c:v>1.0129999999999999</c:v>
                </c:pt>
                <c:pt idx="5">
                  <c:v>0.81599999999999995</c:v>
                </c:pt>
              </c:numCache>
            </c:numRef>
          </c:yVal>
          <c:bubbleSize>
            <c:numRef>
              <c:f>Sheet1!$C$2:$C$7</c:f>
              <c:numCache>
                <c:formatCode>General</c:formatCode>
                <c:ptCount val="6"/>
                <c:pt idx="0">
                  <c:v>23271110</c:v>
                </c:pt>
                <c:pt idx="1">
                  <c:v>4730575</c:v>
                </c:pt>
                <c:pt idx="2">
                  <c:v>4275865</c:v>
                </c:pt>
                <c:pt idx="3">
                  <c:v>2668533</c:v>
                </c:pt>
                <c:pt idx="4">
                  <c:v>2642649</c:v>
                </c:pt>
                <c:pt idx="5">
                  <c:v>473706</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pt idx="5">
                    <c:v>Entremon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4/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1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0.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1.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3.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24.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25.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26.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2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28.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2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0.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1.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34.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35.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36.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95855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4838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71244"/>
            <a:ext cx="4869366" cy="7224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12196"/>
            <a:ext cx="4869366" cy="146337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3636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47500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235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0962"/>
            <a:ext cx="4869366" cy="8420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7257"/>
            <a:ext cx="4869366" cy="5565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8120"/>
            <a:ext cx="4869366" cy="11274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56359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137110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675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85753"/>
            <a:ext cx="4869366" cy="8206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20330"/>
            <a:ext cx="4869366" cy="5424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6715"/>
            <a:ext cx="4869366" cy="109886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748771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239459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0188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1047"/>
            <a:ext cx="4869366" cy="87495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0833"/>
            <a:ext cx="4869366" cy="5783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4024"/>
            <a:ext cx="4869366" cy="117155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874223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308747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308084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988021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1574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38867"/>
            <a:ext cx="4869366" cy="7330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0702"/>
            <a:ext cx="4869366" cy="14848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772420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460432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429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9436"/>
            <a:ext cx="4869366" cy="8115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31752"/>
            <a:ext cx="4869366" cy="16438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215050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315789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101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3264"/>
            <a:ext cx="4869366" cy="6988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833470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652509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212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5612"/>
            <a:ext cx="4869366" cy="7472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015952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119380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4537"/>
            <a:ext cx="4869366" cy="9858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87120"/>
            <a:ext cx="4869366" cy="6516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769477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oeur De L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O'Tapas Ape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586004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987123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831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91008"/>
            <a:ext cx="4869366" cy="7159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25316"/>
            <a:ext cx="4869366" cy="145025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674133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O'Tapas Ape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550680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ntremo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525057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2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758060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2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406775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2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949657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NATION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828499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Carrefour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112655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termarche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186868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93458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343137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990499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814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03988"/>
            <a:ext cx="4869366" cy="7116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33933"/>
            <a:ext cx="4869366" cy="144164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081632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283501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89445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132418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426948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067824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679943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675103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062752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915940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164644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343515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87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10421"/>
            <a:ext cx="4869366" cy="709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38204"/>
            <a:ext cx="4869366" cy="143737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64487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970451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362237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794087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584970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7962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3881"/>
            <a:ext cx="4869366" cy="7772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1089"/>
            <a:ext cx="4869366" cy="157448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535666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836020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347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56862"/>
            <a:ext cx="4869366" cy="69436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69034"/>
            <a:ext cx="4869366" cy="140654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576130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443455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5943"/>
            <a:ext cx="4869366" cy="935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7775"/>
            <a:ext cx="4869366" cy="6186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760889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608717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4466"/>
            <a:ext cx="4869366" cy="9628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3609"/>
            <a:ext cx="4869366" cy="6364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618406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17926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1798"/>
            <a:ext cx="4869366" cy="93403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1667"/>
            <a:ext cx="4869366" cy="6174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561797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3731</Words>
  <Application>Microsoft Office PowerPoint</Application>
  <PresentationFormat>On-screen Show (16:9)</PresentationFormat>
  <Paragraphs>981</Paragraphs>
  <Slides>42</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2"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6</cp:revision>
  <dcterms:created xsi:type="dcterms:W3CDTF">2024-07-05T14:56:51Z</dcterms:created>
  <dcterms:modified xsi:type="dcterms:W3CDTF">2025-09-14T09:1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